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7.xml" ContentType="application/vnd.openxmlformats-officedocument.presentationml.notesSlide+xml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1" r:id="rId1"/>
    <p:sldMasterId id="2147483824" r:id="rId2"/>
  </p:sldMasterIdLst>
  <p:notesMasterIdLst>
    <p:notesMasterId r:id="rId11"/>
  </p:notesMasterIdLst>
  <p:sldIdLst>
    <p:sldId id="863" r:id="rId3"/>
    <p:sldId id="665" r:id="rId4"/>
    <p:sldId id="865" r:id="rId5"/>
    <p:sldId id="1223" r:id="rId6"/>
    <p:sldId id="1233" r:id="rId7"/>
    <p:sldId id="1225" r:id="rId8"/>
    <p:sldId id="869" r:id="rId9"/>
    <p:sldId id="1231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339966"/>
    <a:srgbClr val="00808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59" d="100"/>
          <a:sy n="59" d="100"/>
        </p:scale>
        <p:origin x="132" y="3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E7722748-3ADA-4D52-BD42-99AFE7C4E878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E307882-AB16-4EB0-8418-165F28A1DA5D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045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307882-AB16-4EB0-8418-165F28A1DA5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0243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307882-AB16-4EB0-8418-165F28A1DA5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008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307882-AB16-4EB0-8418-165F28A1DA5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4449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307882-AB16-4EB0-8418-165F28A1DA5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106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307882-AB16-4EB0-8418-165F28A1DA5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3399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307882-AB16-4EB0-8418-165F28A1DA5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7138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307882-AB16-4EB0-8418-165F28A1DA5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7352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307882-AB16-4EB0-8418-165F28A1DA5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6305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BF0ECC61-9B5D-4D22-8751-B303D9FE92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661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1A02C367-B278-4836-866A-1AAB5BBB657F}"/>
              </a:ext>
            </a:extLst>
          </p:cNvPr>
          <p:cNvGrpSpPr/>
          <p:nvPr/>
        </p:nvGrpSpPr>
        <p:grpSpPr>
          <a:xfrm>
            <a:off x="7848837" y="5507585"/>
            <a:ext cx="3452537" cy="658216"/>
            <a:chOff x="7848837" y="5507585"/>
            <a:chExt cx="3452537" cy="658216"/>
          </a:xfrm>
        </p:grpSpPr>
        <p:pic>
          <p:nvPicPr>
            <p:cNvPr id="9" name="Picture 8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85CFA617-72F8-4762-A59C-D024512C8D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48837" y="5507585"/>
              <a:ext cx="3426494" cy="637150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208E71E-BCE2-48C7-9828-B82C23D23BCA}"/>
                </a:ext>
              </a:extLst>
            </p:cNvPr>
            <p:cNvSpPr/>
            <p:nvPr/>
          </p:nvSpPr>
          <p:spPr>
            <a:xfrm>
              <a:off x="10543184" y="5935297"/>
              <a:ext cx="758190" cy="23050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E388C52-955C-4304-8FD8-435CC9D36B89}"/>
                </a:ext>
              </a:extLst>
            </p:cNvPr>
            <p:cNvSpPr/>
            <p:nvPr/>
          </p:nvSpPr>
          <p:spPr>
            <a:xfrm>
              <a:off x="10566959" y="5954537"/>
              <a:ext cx="192024" cy="1920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08624E82-7169-4425-93F9-2F2397935884}"/>
                </a:ext>
              </a:extLst>
            </p:cNvPr>
            <p:cNvSpPr/>
            <p:nvPr/>
          </p:nvSpPr>
          <p:spPr>
            <a:xfrm>
              <a:off x="10826267" y="5954537"/>
              <a:ext cx="192024" cy="1920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006B268D-D51F-49F3-9A6B-F9136850375E}"/>
                </a:ext>
              </a:extLst>
            </p:cNvPr>
            <p:cNvSpPr/>
            <p:nvPr/>
          </p:nvSpPr>
          <p:spPr>
            <a:xfrm>
              <a:off x="11085575" y="5954537"/>
              <a:ext cx="192024" cy="19202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14400" y="3973447"/>
            <a:ext cx="10363200" cy="523220"/>
          </a:xfrm>
        </p:spPr>
        <p:txBody>
          <a:bodyPr vert="horz" lIns="0">
            <a:spAutoFit/>
          </a:bodyPr>
          <a:lstStyle>
            <a:lvl1pPr rtl="0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14400" y="4648202"/>
            <a:ext cx="10363200" cy="307777"/>
          </a:xfrm>
        </p:spPr>
        <p:txBody>
          <a:bodyPr lIns="0">
            <a:spAutoFit/>
          </a:bodyPr>
          <a:lstStyle>
            <a:lvl1pPr marL="0" indent="0" algn="l" rtl="0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Master-</a:t>
            </a:r>
            <a:r>
              <a:rPr lang="en-US" noProof="0" dirty="0" err="1"/>
              <a:t>Un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914400" y="4540741"/>
            <a:ext cx="10363200" cy="0"/>
          </a:xfrm>
          <a:prstGeom prst="line">
            <a:avLst/>
          </a:prstGeom>
          <a:ln w="38100" cmpd="sng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914400" y="5360039"/>
            <a:ext cx="3911601" cy="932242"/>
          </a:xfrm>
        </p:spPr>
        <p:txBody>
          <a:bodyPr anchor="ctr"/>
          <a:lstStyle>
            <a:lvl1pPr marL="0" indent="0" algn="ctr" rtl="0">
              <a:buNone/>
              <a:defRPr b="1"/>
            </a:lvl1pPr>
          </a:lstStyle>
          <a:p>
            <a:r>
              <a:rPr lang="en-US" dirty="0" err="1"/>
              <a:t>Kundenlogo</a:t>
            </a:r>
            <a:r>
              <a:rPr lang="en-US" dirty="0"/>
              <a:t> </a:t>
            </a:r>
            <a:r>
              <a:rPr lang="en-US" dirty="0" err="1"/>
              <a:t>einfügen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EA3BED9-D9E1-440B-9FF8-662D776C16CE}"/>
              </a:ext>
            </a:extLst>
          </p:cNvPr>
          <p:cNvSpPr/>
          <p:nvPr/>
        </p:nvSpPr>
        <p:spPr>
          <a:xfrm>
            <a:off x="6106493" y="2763625"/>
            <a:ext cx="758190" cy="230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E4FB729-0BBA-4156-9E66-F4FFAEFC1EC0}"/>
              </a:ext>
            </a:extLst>
          </p:cNvPr>
          <p:cNvSpPr/>
          <p:nvPr/>
        </p:nvSpPr>
        <p:spPr>
          <a:xfrm>
            <a:off x="6106493" y="2763625"/>
            <a:ext cx="758190" cy="230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7" name="Picture 16" descr="A picture containing tree, rainbow&#10;&#10;Description automatically generated">
            <a:extLst>
              <a:ext uri="{FF2B5EF4-FFF2-40B4-BE49-F238E27FC236}">
                <a16:creationId xmlns:a16="http://schemas.microsoft.com/office/drawing/2014/main" id="{18F8CEF3-72FC-4718-B309-0332950C92C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3111" b="51111"/>
          <a:stretch/>
        </p:blipFill>
        <p:spPr>
          <a:xfrm>
            <a:off x="0" y="1488843"/>
            <a:ext cx="12192000" cy="177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978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DB15086-8685-49E4-9557-3403B1945D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9752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0F3904-343C-4551-801E-D099E5BB9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848" y="641104"/>
            <a:ext cx="11145781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53B911-8BD6-4BAF-A96C-C04E462BC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A29A3B8-3601-48BD-9887-2F4A6FB79B56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97F305-DE6C-4505-869F-B250B0FFF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1FC6BE5-2753-4CD6-97C9-172A21121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97628EF-3FE1-442D-BDA0-D2D2ED59F329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3901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3E32CF-8346-4F8D-9AE7-E78C3287C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074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48" y="641104"/>
            <a:ext cx="11145781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www.bestppt.co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0D1EDE-7116-2443-9BDD-368CE5B3766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53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9D1B090-9288-4D64-A6F4-52508F63CF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72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www.bestppt.com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2351833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08B6ED9-8500-4975-81FC-B10EAB380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344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48" y="641104"/>
            <a:ext cx="11145781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www.bestppt.co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0D1EDE-7116-2443-9BDD-368CE5B3766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040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D58CAC1-3619-4115-A936-40775CEDB6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558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www.bestppt.com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856303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E69E94B-5156-4134-AEF9-114D30142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357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48" y="641104"/>
            <a:ext cx="11145781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www.bestppt.co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0D1EDE-7116-2443-9BDD-368CE5B3766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7312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29391F2-29D5-4440-933E-81ADAC4CD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663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www.bestppt.com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544515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7D712D8-3CB8-4DEF-8F9F-ADE009942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4251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48" y="641104"/>
            <a:ext cx="11145781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www.bestppt.co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0D1EDE-7116-2443-9BDD-368CE5B3766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8529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902B768-8CEF-4962-93EB-9646B40F34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763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www.bestppt.com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7175563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2B89266-2DD3-4D86-88B7-1E31A1745B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5060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E1F0517-96F9-4C90-A406-6D6CC2683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848" y="641104"/>
            <a:ext cx="11145781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B7E67E5-44E2-4B79-8880-F0ABD27A6A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A29A3B8-3601-48BD-9887-2F4A6FB79B56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2E254D-B140-4A41-ADD8-779891ADF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6FE194-63C2-4100-B243-B3FA54DED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97628EF-3FE1-442D-BDA0-D2D2ED59F329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3794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64FD3A7-7AD6-496D-9452-A754038E2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234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Inhaltsplatzhalter 18">
            <a:extLst>
              <a:ext uri="{FF2B5EF4-FFF2-40B4-BE49-F238E27FC236}">
                <a16:creationId xmlns:a16="http://schemas.microsoft.com/office/drawing/2014/main" id="{C6A8CDAB-B5B4-4F94-869C-2B2CD9ED8047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82689" y="2382441"/>
            <a:ext cx="11034000" cy="457200"/>
          </a:xfrm>
          <a:solidFill>
            <a:srgbClr val="E6ECF0"/>
          </a:solidFill>
        </p:spPr>
        <p:txBody>
          <a:bodyPr lIns="180000" anchor="ctr"/>
          <a:lstStyle>
            <a:lvl1pPr marL="342900" indent="-342900" rtl="0">
              <a:buFont typeface="+mj-lt"/>
              <a:buAutoNum type="arabicPeriod" startAt="2"/>
              <a:defRPr>
                <a:solidFill>
                  <a:schemeClr val="tx1"/>
                </a:solidFill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10635D52-CAB5-4346-9BC7-7DAD37CF71D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659534" y="2382441"/>
            <a:ext cx="956733" cy="457200"/>
          </a:xfrm>
          <a:solidFill>
            <a:schemeClr val="tx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5’</a:t>
            </a:r>
          </a:p>
        </p:txBody>
      </p:sp>
      <p:sp>
        <p:nvSpPr>
          <p:cNvPr id="21" name="Inhaltsplatzhalter 18"/>
          <p:cNvSpPr>
            <a:spLocks noGrp="1"/>
          </p:cNvSpPr>
          <p:nvPr>
            <p:ph sz="quarter" idx="13"/>
          </p:nvPr>
        </p:nvSpPr>
        <p:spPr>
          <a:xfrm>
            <a:off x="582689" y="1802760"/>
            <a:ext cx="11034000" cy="457200"/>
          </a:xfrm>
          <a:solidFill>
            <a:srgbClr val="E6ECF0"/>
          </a:solidFill>
        </p:spPr>
        <p:txBody>
          <a:bodyPr lIns="180000" anchor="ctr"/>
          <a:lstStyle>
            <a:lvl1pPr marL="342900" indent="-342900" rtl="0"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BE380F-D652-4245-8E19-D92C0C8023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659534" y="1802760"/>
            <a:ext cx="956733" cy="457200"/>
          </a:xfrm>
          <a:solidFill>
            <a:schemeClr val="tx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5’</a:t>
            </a:r>
          </a:p>
        </p:txBody>
      </p:sp>
      <p:sp>
        <p:nvSpPr>
          <p:cNvPr id="31" name="Datumsplatzhalter 3">
            <a:extLst>
              <a:ext uri="{FF2B5EF4-FFF2-40B4-BE49-F238E27FC236}">
                <a16:creationId xmlns:a16="http://schemas.microsoft.com/office/drawing/2014/main" id="{E2A60692-C015-442C-88A3-6AF52DBA37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2686" y="6492880"/>
            <a:ext cx="771982" cy="365125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tx2"/>
                </a:solidFill>
              </a:defRPr>
            </a:lvl1pPr>
          </a:lstStyle>
          <a:p>
            <a:fld id="{3A29A3B8-3601-48BD-9887-2F4A6FB79B56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D452417E-D765-4122-A519-A36E72FAD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689" y="636105"/>
            <a:ext cx="11033209" cy="369332"/>
          </a:xfrm>
        </p:spPr>
        <p:txBody>
          <a:bodyPr vert="horz" lIns="0">
            <a:spAutoFit/>
          </a:bodyPr>
          <a:lstStyle>
            <a:lvl1pPr rtl="0">
              <a:defRPr sz="1800" b="1">
                <a:solidFill>
                  <a:srgbClr val="37424D"/>
                </a:solidFill>
              </a:defRPr>
            </a:lvl1pPr>
          </a:lstStyle>
          <a:p>
            <a:r>
              <a:rPr lang="en-US" noProof="0" dirty="0"/>
              <a:t>Agenda</a:t>
            </a:r>
          </a:p>
        </p:txBody>
      </p:sp>
      <p:cxnSp>
        <p:nvCxnSpPr>
          <p:cNvPr id="33" name="Gerade Verbindung 7">
            <a:extLst>
              <a:ext uri="{FF2B5EF4-FFF2-40B4-BE49-F238E27FC236}">
                <a16:creationId xmlns:a16="http://schemas.microsoft.com/office/drawing/2014/main" id="{EE10B516-7DF3-4634-96A7-9A2B4CE25DCC}"/>
              </a:ext>
            </a:extLst>
          </p:cNvPr>
          <p:cNvCxnSpPr>
            <a:cxnSpLocks/>
          </p:cNvCxnSpPr>
          <p:nvPr/>
        </p:nvCxnSpPr>
        <p:spPr>
          <a:xfrm flipV="1">
            <a:off x="581898" y="1007358"/>
            <a:ext cx="11034000" cy="1"/>
          </a:xfrm>
          <a:prstGeom prst="line">
            <a:avLst/>
          </a:prstGeom>
          <a:ln w="12700" cmpd="sng">
            <a:solidFill>
              <a:srgbClr val="37424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00BA2D35-862B-4D50-B9D8-CB9EC5C55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689" y="1005442"/>
            <a:ext cx="11033209" cy="307777"/>
          </a:xfrm>
        </p:spPr>
        <p:txBody>
          <a:bodyPr wrap="square" lIns="0" rIns="0">
            <a:spAutoFit/>
          </a:bodyPr>
          <a:lstStyle>
            <a:lvl1pPr marL="0" indent="0" rtl="0">
              <a:buFont typeface="Arial"/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titel</a:t>
            </a:r>
            <a:endParaRPr lang="en-US" noProof="0" dirty="0"/>
          </a:p>
        </p:txBody>
      </p:sp>
      <p:sp>
        <p:nvSpPr>
          <p:cNvPr id="40" name="Inhaltsplatzhalter 18">
            <a:extLst>
              <a:ext uri="{FF2B5EF4-FFF2-40B4-BE49-F238E27FC236}">
                <a16:creationId xmlns:a16="http://schemas.microsoft.com/office/drawing/2014/main" id="{7AC60634-C8A3-43EC-9154-352396EA2BBB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582689" y="2962122"/>
            <a:ext cx="11034000" cy="457200"/>
          </a:xfrm>
          <a:solidFill>
            <a:srgbClr val="E6ECF0"/>
          </a:solidFill>
        </p:spPr>
        <p:txBody>
          <a:bodyPr lIns="180000" anchor="ctr"/>
          <a:lstStyle>
            <a:lvl1pPr marL="342900" indent="-342900" rtl="0">
              <a:buFont typeface="+mj-lt"/>
              <a:buAutoNum type="arabicPeriod" startAt="3"/>
              <a:defRPr>
                <a:solidFill>
                  <a:schemeClr val="tx1"/>
                </a:solidFill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B24D3B9A-5765-4950-AC95-ED8DFDD4A4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659534" y="2962122"/>
            <a:ext cx="956733" cy="457200"/>
          </a:xfrm>
          <a:solidFill>
            <a:schemeClr val="tx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5’</a:t>
            </a:r>
          </a:p>
        </p:txBody>
      </p:sp>
      <p:sp>
        <p:nvSpPr>
          <p:cNvPr id="46" name="Inhaltsplatzhalter 18">
            <a:extLst>
              <a:ext uri="{FF2B5EF4-FFF2-40B4-BE49-F238E27FC236}">
                <a16:creationId xmlns:a16="http://schemas.microsoft.com/office/drawing/2014/main" id="{7695CB8B-DBF2-456C-9203-298E2C3351A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582689" y="3541803"/>
            <a:ext cx="11034000" cy="457200"/>
          </a:xfrm>
          <a:solidFill>
            <a:srgbClr val="E6ECF0"/>
          </a:solidFill>
        </p:spPr>
        <p:txBody>
          <a:bodyPr lIns="180000" anchor="ctr"/>
          <a:lstStyle>
            <a:lvl1pPr marL="342900" indent="-342900" rtl="0">
              <a:buFont typeface="+mj-lt"/>
              <a:buAutoNum type="arabicPeriod" startAt="4"/>
              <a:defRPr>
                <a:solidFill>
                  <a:schemeClr val="tx1"/>
                </a:solidFill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151A861E-A256-4E45-804B-9341EFB9630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659534" y="3541803"/>
            <a:ext cx="956733" cy="457200"/>
          </a:xfrm>
          <a:solidFill>
            <a:schemeClr val="tx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5’</a:t>
            </a:r>
          </a:p>
        </p:txBody>
      </p:sp>
      <p:sp>
        <p:nvSpPr>
          <p:cNvPr id="48" name="Inhaltsplatzhalter 18">
            <a:extLst>
              <a:ext uri="{FF2B5EF4-FFF2-40B4-BE49-F238E27FC236}">
                <a16:creationId xmlns:a16="http://schemas.microsoft.com/office/drawing/2014/main" id="{A7281691-EF03-48DC-A0EA-2B93F81DC4C0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582689" y="4121484"/>
            <a:ext cx="11034000" cy="457200"/>
          </a:xfrm>
          <a:solidFill>
            <a:srgbClr val="E6ECF0"/>
          </a:solidFill>
        </p:spPr>
        <p:txBody>
          <a:bodyPr lIns="180000" anchor="ctr"/>
          <a:lstStyle>
            <a:lvl1pPr marL="342900" indent="-342900" rtl="0">
              <a:buFont typeface="+mj-lt"/>
              <a:buAutoNum type="arabicPeriod" startAt="5"/>
              <a:defRPr>
                <a:solidFill>
                  <a:schemeClr val="tx1"/>
                </a:solidFill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3E11C9A1-07C5-4057-9E34-846E730EA3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659534" y="4121484"/>
            <a:ext cx="956733" cy="457200"/>
          </a:xfrm>
          <a:solidFill>
            <a:schemeClr val="tx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5’</a:t>
            </a:r>
          </a:p>
        </p:txBody>
      </p:sp>
      <p:sp>
        <p:nvSpPr>
          <p:cNvPr id="50" name="Inhaltsplatzhalter 18">
            <a:extLst>
              <a:ext uri="{FF2B5EF4-FFF2-40B4-BE49-F238E27FC236}">
                <a16:creationId xmlns:a16="http://schemas.microsoft.com/office/drawing/2014/main" id="{384B2203-EC7C-4974-AB68-7F04927EBA05}"/>
              </a:ext>
            </a:extLst>
          </p:cNvPr>
          <p:cNvSpPr>
            <a:spLocks noGrp="1"/>
          </p:cNvSpPr>
          <p:nvPr>
            <p:ph sz="quarter" idx="43"/>
          </p:nvPr>
        </p:nvSpPr>
        <p:spPr>
          <a:xfrm>
            <a:off x="582689" y="4701165"/>
            <a:ext cx="11034000" cy="457200"/>
          </a:xfrm>
          <a:solidFill>
            <a:srgbClr val="E6ECF0"/>
          </a:solidFill>
        </p:spPr>
        <p:txBody>
          <a:bodyPr lIns="180000" anchor="ctr"/>
          <a:lstStyle>
            <a:lvl1pPr marL="342900" indent="-342900" rtl="0">
              <a:buFont typeface="+mj-lt"/>
              <a:buAutoNum type="arabicPeriod" startAt="6"/>
              <a:defRPr>
                <a:solidFill>
                  <a:schemeClr val="tx1"/>
                </a:solidFill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F2770091-A6C8-4394-82EB-058405D0CD5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659534" y="4701165"/>
            <a:ext cx="956733" cy="457200"/>
          </a:xfrm>
          <a:solidFill>
            <a:schemeClr val="tx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5’</a:t>
            </a:r>
          </a:p>
        </p:txBody>
      </p:sp>
      <p:sp>
        <p:nvSpPr>
          <p:cNvPr id="52" name="Inhaltsplatzhalter 18">
            <a:extLst>
              <a:ext uri="{FF2B5EF4-FFF2-40B4-BE49-F238E27FC236}">
                <a16:creationId xmlns:a16="http://schemas.microsoft.com/office/drawing/2014/main" id="{B056FB9B-12CE-420B-9353-530BAAF8CCC2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582689" y="5280845"/>
            <a:ext cx="11034000" cy="457200"/>
          </a:xfrm>
          <a:solidFill>
            <a:srgbClr val="E6ECF0"/>
          </a:solidFill>
        </p:spPr>
        <p:txBody>
          <a:bodyPr lIns="180000" anchor="ctr"/>
          <a:lstStyle>
            <a:lvl1pPr marL="342900" indent="-342900" rtl="0">
              <a:buFont typeface="+mj-lt"/>
              <a:buAutoNum type="arabicPeriod" startAt="7"/>
              <a:defRPr>
                <a:solidFill>
                  <a:schemeClr val="tx1"/>
                </a:solidFill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22FD50ED-9FB6-403F-B5BA-EF2EF32C5EE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659534" y="5280845"/>
            <a:ext cx="956733" cy="457200"/>
          </a:xfrm>
          <a:solidFill>
            <a:schemeClr val="tx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5’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BDFB2CD9-C604-4D3E-84B8-E4A310CB3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1822" y="6492880"/>
            <a:ext cx="564446" cy="365125"/>
          </a:xfrm>
        </p:spPr>
        <p:txBody>
          <a:bodyPr/>
          <a:lstStyle>
            <a:lvl1pPr rtl="0">
              <a:defRPr sz="900">
                <a:solidFill>
                  <a:schemeClr val="tx2"/>
                </a:solidFill>
              </a:defRPr>
            </a:lvl1pPr>
          </a:lstStyle>
          <a:p>
            <a:fld id="{897628EF-3FE1-442D-BDA0-D2D2ED59F329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F1FEC8C-BECB-4409-B135-57D9FEBD6F7C}"/>
              </a:ext>
            </a:extLst>
          </p:cNvPr>
          <p:cNvGrpSpPr/>
          <p:nvPr/>
        </p:nvGrpSpPr>
        <p:grpSpPr>
          <a:xfrm>
            <a:off x="10838277" y="119472"/>
            <a:ext cx="777990" cy="210312"/>
            <a:chOff x="10838277" y="119472"/>
            <a:chExt cx="777990" cy="210312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4EF0851-EB17-4FD0-9888-BD1B317351A2}"/>
                </a:ext>
              </a:extLst>
            </p:cNvPr>
            <p:cNvSpPr/>
            <p:nvPr/>
          </p:nvSpPr>
          <p:spPr>
            <a:xfrm>
              <a:off x="10838277" y="119472"/>
              <a:ext cx="210312" cy="210312"/>
            </a:xfrm>
            <a:prstGeom prst="ellipse">
              <a:avLst/>
            </a:prstGeom>
            <a:solidFill>
              <a:srgbClr val="AEE1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58DB878-5712-4726-85D2-3D8FB0CF4641}"/>
                </a:ext>
              </a:extLst>
            </p:cNvPr>
            <p:cNvSpPr/>
            <p:nvPr/>
          </p:nvSpPr>
          <p:spPr>
            <a:xfrm>
              <a:off x="11405955" y="119472"/>
              <a:ext cx="210312" cy="210312"/>
            </a:xfrm>
            <a:prstGeom prst="ellipse">
              <a:avLst/>
            </a:prstGeom>
            <a:solidFill>
              <a:srgbClr val="4F9C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30402BE-632F-43BA-96DD-0121C0B097B3}"/>
                </a:ext>
              </a:extLst>
            </p:cNvPr>
            <p:cNvSpPr/>
            <p:nvPr/>
          </p:nvSpPr>
          <p:spPr>
            <a:xfrm>
              <a:off x="11122116" y="119472"/>
              <a:ext cx="210312" cy="210312"/>
            </a:xfrm>
            <a:prstGeom prst="ellipse">
              <a:avLst/>
            </a:prstGeom>
            <a:solidFill>
              <a:srgbClr val="78B5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6297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3">
          <p15:clr>
            <a:srgbClr val="FBAE40"/>
          </p15:clr>
        </p15:guide>
        <p15:guide id="3" pos="7317">
          <p15:clr>
            <a:srgbClr val="FBAE40"/>
          </p15:clr>
        </p15:guide>
        <p15:guide id="4" orient="horz" pos="113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642BDAC-F13C-4473-A14C-6B3F58E72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7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2B63C88-0F72-44FA-A5CC-C46C0D9F8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5C74B72-B2CF-4E81-A9FD-099B607096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-</a:t>
            </a:r>
            <a:r>
              <a:rPr lang="en-US" dirty="0" err="1"/>
              <a:t>Un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42677D9-60FF-4965-AC7A-8604103C60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7EAF21-2B55-448D-BEC5-4EF57F7D7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4A6E19-BDB6-46A0-A51E-924DE615E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3660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2EEF11C-BBA5-4765-A96C-E548D0A27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203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B30154-A3DA-4C9E-8B47-1E422A302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417059D-04B7-4DF6-8246-315E2C0573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9EF568C-9C2A-4C86-AC50-105F20E70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B1F3B4-A6D8-4F60-8750-798C531E7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30D7891-136F-42F5-B5C4-3FA3CA97A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8050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BE9B619-81E9-4B20-865A-EDF10E030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715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A801A1F-359D-45A0-BAA7-163D63547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C5804E-DFEE-4CEE-BD56-0191D74474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66776C-17F8-4032-8B38-C35FC5FE6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BF0F90-2662-4437-AAA5-DC41976DF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2ED7FF-71FC-4E88-9F9F-E8F611AD0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8879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2951AEB-0E1E-4752-A723-83066C314B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72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EF80BC9-F4DB-4E96-B7B6-E61E31580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AEE58-B7C3-4A4D-A839-81EF003205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E339B40-3F78-4AAE-9F4C-800EA9C199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40B1C2-976D-4B94-834F-2529D5826E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659FA1-518A-48D3-85D4-7A6943988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2AB473A-6ECA-4046-A8EC-C7004775B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1205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6CEC3034-644E-4D38-8F72-F6FAF5DED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591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676C6F7-D1DE-419A-A3F4-4DFC666F6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BC0920-8BAE-428F-A3D1-6BD0BF54B3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985A244-318D-47D0-8AA5-808F061130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FCD2A1-4277-4EA3-B20F-CD339CF519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613826A-7D57-46D5-A48F-71DA1C69DD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E52D28A-5183-42D9-B9D7-2DA60D02D0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7A5F513-1521-4C19-9049-40007F8D1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D288DC3-E8FE-4E9D-98A6-222EDD03D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8460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292F1D8-DDCF-4084-A74C-734E085127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570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4E35FE-C583-468A-A5A1-230016279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1B854B1-A42D-4DC9-BADE-8832987DA7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38BB9A-855E-4AE4-AB51-AE1A5AD08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C09782-AE29-483E-8929-E7A0D4A7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6484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E179BE0-487F-44AD-83EE-78E76E3894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1340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72E4A3E-56FF-4CB9-88D4-419BE39D93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6947CF6-2447-4CA8-A089-73741888B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ABBBB1-F736-4F95-8D43-819682D7A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2004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ECE646E-71B7-46EC-8A4C-6A1E583D53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915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38D4E6-76DE-44C8-8A74-A49AD619B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75F66F-A45E-46F2-A6D7-2FFD1AB5E1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190C8DD-88E9-4B7E-9607-63C2EDF633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EBA713-682A-44E6-9EFB-DACA06C127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66EF21-0883-4B7E-AA40-A20C2FBDA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572355E-C3F8-49CD-B97E-C0ADC1085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137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DFC6F83-C82C-45AB-9960-74B11E12D6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507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CCF914-9CBB-4BD5-B1EF-57DA7AF53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4E3E5AC-BBF4-4E62-A3F1-AEE25CDA12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169C796-24D4-4C41-A3D3-262AF61EB0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8D485FC-182F-4206-934E-63140799B6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60578C-6416-4CDC-BC77-FF7CE15A49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867EE0D-5BFE-4A53-9245-C5BB9FE9D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876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891F01A-2C5A-4F6A-B7AB-BA34D6D49A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539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458C87E-62C9-4D78-A278-95BECBC03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6DF269A-43F8-4248-AF26-6B26F3C36F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E290A3C-C2C2-4EDA-9DBA-ABD098B134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25AD19-6280-49F7-91A3-5FD30F320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F36D8F-8A9A-4543-9E5F-5498C15F7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2464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BBFC1F4-8538-4017-B6EA-1C15775948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123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82689" y="96675"/>
            <a:ext cx="3391992" cy="255905"/>
          </a:xfrm>
        </p:spPr>
        <p:txBody>
          <a:bodyPr lIns="0">
            <a:normAutofit/>
          </a:bodyPr>
          <a:lstStyle>
            <a:lvl1pPr marL="0" indent="0" rtl="0">
              <a:buNone/>
              <a:defRPr sz="800" b="0" cap="none" spc="0" baseline="0">
                <a:ln w="0"/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sz="1050" noProof="0" dirty="0" err="1"/>
              <a:t>Kapitel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2689" y="636105"/>
            <a:ext cx="11033209" cy="369332"/>
          </a:xfrm>
        </p:spPr>
        <p:txBody>
          <a:bodyPr vert="horz" lIns="0">
            <a:spAutoFit/>
          </a:bodyPr>
          <a:lstStyle>
            <a:lvl1pPr rtl="0">
              <a:defRPr sz="1800" b="1">
                <a:solidFill>
                  <a:srgbClr val="37424D"/>
                </a:solidFill>
              </a:defRPr>
            </a:lvl1pPr>
          </a:lstStyle>
          <a:p>
            <a:r>
              <a:rPr lang="en-US" noProof="0" dirty="0" err="1"/>
              <a:t>Actiontitle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582685" y="6492880"/>
            <a:ext cx="1032105" cy="365125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tx2"/>
                </a:solidFill>
              </a:defRPr>
            </a:lvl1pPr>
          </a:lstStyle>
          <a:p>
            <a:fld id="{FA0ED32B-90DF-44D3-BACC-D8CD803A7B44}" type="datetime1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051822" y="6492880"/>
            <a:ext cx="564446" cy="365125"/>
          </a:xfrm>
        </p:spPr>
        <p:txBody>
          <a:bodyPr/>
          <a:lstStyle>
            <a:lvl1pPr rtl="0">
              <a:defRPr sz="900">
                <a:solidFill>
                  <a:schemeClr val="tx2"/>
                </a:solidFill>
              </a:defRPr>
            </a:lvl1pPr>
          </a:lstStyle>
          <a:p>
            <a:fld id="{436F2336-C3EE-43B3-9D88-842CFCDEF930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8" name="Gerade Verbindung 7"/>
          <p:cNvCxnSpPr>
            <a:cxnSpLocks/>
          </p:cNvCxnSpPr>
          <p:nvPr/>
        </p:nvCxnSpPr>
        <p:spPr>
          <a:xfrm flipV="1">
            <a:off x="581898" y="1007358"/>
            <a:ext cx="11034000" cy="1"/>
          </a:xfrm>
          <a:prstGeom prst="line">
            <a:avLst/>
          </a:prstGeom>
          <a:ln w="12700" cmpd="sng">
            <a:solidFill>
              <a:srgbClr val="37424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82687" y="6241829"/>
            <a:ext cx="3600000" cy="215444"/>
          </a:xfrm>
          <a:ln>
            <a:noFill/>
          </a:ln>
        </p:spPr>
        <p:txBody>
          <a:bodyPr wrap="square" lIns="0">
            <a:noAutofit/>
          </a:bodyPr>
          <a:lstStyle>
            <a:lvl1pPr marL="0" indent="0" rtl="0">
              <a:buFont typeface="Arial" charset="0"/>
              <a:buNone/>
              <a:defRPr sz="800">
                <a:solidFill>
                  <a:schemeClr val="tx2"/>
                </a:solidFill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noProof="0" dirty="0" err="1"/>
              <a:t>Fussnote</a:t>
            </a:r>
            <a:r>
              <a:rPr lang="en-US" noProof="0" dirty="0"/>
              <a:t>: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582689" y="1005442"/>
            <a:ext cx="11033209" cy="307777"/>
          </a:xfrm>
        </p:spPr>
        <p:txBody>
          <a:bodyPr wrap="square" lIns="0" rIns="0">
            <a:spAutoFit/>
          </a:bodyPr>
          <a:lstStyle>
            <a:lvl1pPr marL="0" indent="0" rtl="0">
              <a:buFont typeface="Arial"/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titel</a:t>
            </a:r>
            <a:endParaRPr lang="en-US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B6FEE7-0CEE-44C9-9550-443809A1A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2301240" y="1484313"/>
            <a:ext cx="2263140" cy="477837"/>
          </a:xfrm>
          <a:solidFill>
            <a:schemeClr val="bg2"/>
          </a:solidFill>
          <a:ln>
            <a:noFill/>
          </a:ln>
        </p:spPr>
        <p:txBody>
          <a:bodyPr lIns="0" rIns="0" anchor="ctr">
            <a:normAutofit/>
          </a:bodyPr>
          <a:lstStyle>
            <a:lvl1pPr marL="0" indent="0" algn="ctr" rtl="0">
              <a:buNone/>
              <a:defRPr sz="1400" b="1"/>
            </a:lvl1pPr>
          </a:lstStyle>
          <a:p>
            <a:pPr lvl="0"/>
            <a:r>
              <a:rPr lang="en-US" dirty="0"/>
              <a:t>Align Top (No Outline)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2E73551-7917-4271-B694-5D0CECDA44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2301240" y="5759451"/>
            <a:ext cx="2263140" cy="477837"/>
          </a:xfrm>
          <a:solidFill>
            <a:schemeClr val="bg2"/>
          </a:solidFill>
          <a:ln>
            <a:noFill/>
          </a:ln>
        </p:spPr>
        <p:txBody>
          <a:bodyPr lIns="0" rIns="0" anchor="ctr">
            <a:normAutofit/>
          </a:bodyPr>
          <a:lstStyle>
            <a:lvl1pPr marL="0" indent="0" algn="ctr" rtl="0">
              <a:buNone/>
              <a:defRPr sz="1400" b="1"/>
            </a:lvl1pPr>
          </a:lstStyle>
          <a:p>
            <a:pPr lvl="0"/>
            <a:r>
              <a:rPr lang="en-US" dirty="0"/>
              <a:t>Align Bottom (No Outline)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6BB3CE-1FF8-40A5-BE40-7B4F154F312A}"/>
              </a:ext>
            </a:extLst>
          </p:cNvPr>
          <p:cNvGrpSpPr/>
          <p:nvPr/>
        </p:nvGrpSpPr>
        <p:grpSpPr>
          <a:xfrm>
            <a:off x="10838277" y="119472"/>
            <a:ext cx="777990" cy="210312"/>
            <a:chOff x="10838277" y="119472"/>
            <a:chExt cx="777990" cy="21031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110DC61-34BD-4C5A-AD48-9952FFCD7C93}"/>
                </a:ext>
              </a:extLst>
            </p:cNvPr>
            <p:cNvSpPr/>
            <p:nvPr/>
          </p:nvSpPr>
          <p:spPr>
            <a:xfrm>
              <a:off x="10838277" y="119472"/>
              <a:ext cx="210312" cy="210312"/>
            </a:xfrm>
            <a:prstGeom prst="ellipse">
              <a:avLst/>
            </a:prstGeom>
            <a:solidFill>
              <a:srgbClr val="AEE1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A7F7C07-FD93-4739-A7CE-AE35D8261B50}"/>
                </a:ext>
              </a:extLst>
            </p:cNvPr>
            <p:cNvSpPr/>
            <p:nvPr/>
          </p:nvSpPr>
          <p:spPr>
            <a:xfrm>
              <a:off x="11405955" y="119472"/>
              <a:ext cx="210312" cy="210312"/>
            </a:xfrm>
            <a:prstGeom prst="ellipse">
              <a:avLst/>
            </a:prstGeom>
            <a:solidFill>
              <a:srgbClr val="4F9C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9368A64-C79A-460D-B05D-A6DAB2A332CA}"/>
                </a:ext>
              </a:extLst>
            </p:cNvPr>
            <p:cNvSpPr/>
            <p:nvPr/>
          </p:nvSpPr>
          <p:spPr>
            <a:xfrm>
              <a:off x="11122116" y="119472"/>
              <a:ext cx="210312" cy="210312"/>
            </a:xfrm>
            <a:prstGeom prst="ellipse">
              <a:avLst/>
            </a:prstGeom>
            <a:solidFill>
              <a:srgbClr val="78B5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8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7317">
          <p15:clr>
            <a:srgbClr val="FBAE40"/>
          </p15:clr>
        </p15:guide>
        <p15:guide id="3" pos="363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pos="3689">
          <p15:clr>
            <a:srgbClr val="FBAE40"/>
          </p15:clr>
        </p15:guide>
        <p15:guide id="6" pos="399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0765792-BB05-4F78-8411-943DF3841F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701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6C6ADE65-AA79-4842-B92E-0BBB8BA8BD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7A42013-EB32-4F2D-B829-FAD2B39DAE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8AAB12-1A77-4CCF-9FBA-C7E1C1A23C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F40B43-E224-47DC-8C0C-31A625229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FA4795-3069-4497-92A2-D027663D5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0125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schnittsüberschrift">
    <p:bg>
      <p:bgPr>
        <a:solidFill>
          <a:srgbClr val="E7ED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884E0BC-0EA2-40E5-AD1D-0F5D93F20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453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260919A1-09FC-45C9-8420-771F912792E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78578" y="2678944"/>
            <a:ext cx="6973235" cy="1724949"/>
          </a:xfrm>
          <a:ln>
            <a:noFill/>
          </a:ln>
        </p:spPr>
        <p:txBody>
          <a:bodyPr lIns="0" anchor="b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 baseline="0">
                <a:solidFill>
                  <a:srgbClr val="37424D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600" b="0" dirty="0"/>
              <a:t>1.1  </a:t>
            </a:r>
            <a:r>
              <a:rPr lang="en-US" sz="1600" b="0" dirty="0" err="1"/>
              <a:t>Unterkapitel</a:t>
            </a:r>
            <a:endParaRPr lang="en-US" sz="1600" b="0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5A1A3A7-E354-4061-9CAA-65990F0D43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40808" y="1644776"/>
            <a:ext cx="2602303" cy="3734701"/>
          </a:xfrm>
          <a:ln>
            <a:noFill/>
          </a:ln>
        </p:spPr>
        <p:txBody>
          <a:bodyPr anchor="b">
            <a:noAutofit/>
          </a:bodyPr>
          <a:lstStyle>
            <a:lvl1pPr marL="0" indent="0" rtl="0">
              <a:spcBef>
                <a:spcPts val="0"/>
              </a:spcBef>
              <a:buNone/>
              <a:defRPr sz="24000">
                <a:solidFill>
                  <a:srgbClr val="37424D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1</a:t>
            </a:r>
          </a:p>
        </p:txBody>
      </p:sp>
      <p:cxnSp>
        <p:nvCxnSpPr>
          <p:cNvPr id="13" name="Gerade Verbindung 7">
            <a:extLst>
              <a:ext uri="{FF2B5EF4-FFF2-40B4-BE49-F238E27FC236}">
                <a16:creationId xmlns:a16="http://schemas.microsoft.com/office/drawing/2014/main" id="{945F31E4-033C-4017-9B14-6C6BDEF0F9B7}"/>
              </a:ext>
            </a:extLst>
          </p:cNvPr>
          <p:cNvCxnSpPr>
            <a:cxnSpLocks/>
          </p:cNvCxnSpPr>
          <p:nvPr/>
        </p:nvCxnSpPr>
        <p:spPr>
          <a:xfrm>
            <a:off x="3577513" y="4461949"/>
            <a:ext cx="69732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4" name="Gerade Verbindung 7">
            <a:extLst>
              <a:ext uri="{FF2B5EF4-FFF2-40B4-BE49-F238E27FC236}">
                <a16:creationId xmlns:a16="http://schemas.microsoft.com/office/drawing/2014/main" id="{778FB6C5-D5AD-45D9-A6CB-1D5C661BD636}"/>
              </a:ext>
            </a:extLst>
          </p:cNvPr>
          <p:cNvCxnSpPr>
            <a:cxnSpLocks/>
          </p:cNvCxnSpPr>
          <p:nvPr/>
        </p:nvCxnSpPr>
        <p:spPr>
          <a:xfrm>
            <a:off x="3577513" y="2633149"/>
            <a:ext cx="69732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78C9D1D-C6AF-4A11-8FA1-92A912C5DA74}"/>
              </a:ext>
            </a:extLst>
          </p:cNvPr>
          <p:cNvGrpSpPr/>
          <p:nvPr/>
        </p:nvGrpSpPr>
        <p:grpSpPr>
          <a:xfrm>
            <a:off x="10838277" y="119472"/>
            <a:ext cx="777990" cy="210312"/>
            <a:chOff x="10838277" y="119472"/>
            <a:chExt cx="777990" cy="21031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0C5A559-3BFA-4CD0-A8D8-6F5057E3411B}"/>
                </a:ext>
              </a:extLst>
            </p:cNvPr>
            <p:cNvSpPr/>
            <p:nvPr/>
          </p:nvSpPr>
          <p:spPr>
            <a:xfrm>
              <a:off x="10838277" y="119472"/>
              <a:ext cx="210312" cy="210312"/>
            </a:xfrm>
            <a:prstGeom prst="ellipse">
              <a:avLst/>
            </a:prstGeom>
            <a:solidFill>
              <a:srgbClr val="AEE1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EDCF696-7D0F-46C3-AFA1-26C6AD383C99}"/>
                </a:ext>
              </a:extLst>
            </p:cNvPr>
            <p:cNvSpPr/>
            <p:nvPr/>
          </p:nvSpPr>
          <p:spPr>
            <a:xfrm>
              <a:off x="11405955" y="119472"/>
              <a:ext cx="210312" cy="210312"/>
            </a:xfrm>
            <a:prstGeom prst="ellipse">
              <a:avLst/>
            </a:prstGeom>
            <a:solidFill>
              <a:srgbClr val="4F9C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EC1EC9D-5235-4B41-A084-A0ABF6EA49D8}"/>
                </a:ext>
              </a:extLst>
            </p:cNvPr>
            <p:cNvSpPr/>
            <p:nvPr/>
          </p:nvSpPr>
          <p:spPr>
            <a:xfrm>
              <a:off x="11122116" y="119472"/>
              <a:ext cx="210312" cy="210312"/>
            </a:xfrm>
            <a:prstGeom prst="ellipse">
              <a:avLst/>
            </a:prstGeom>
            <a:solidFill>
              <a:srgbClr val="78B5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06901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bschnittsüberschrift">
    <p:bg>
      <p:bgPr>
        <a:solidFill>
          <a:srgbClr val="E6EC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A6E10A-322E-4255-B2C3-D2B8DA473A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387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9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A6E10A-322E-4255-B2C3-D2B8DA473A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840808" y="1644776"/>
            <a:ext cx="2602303" cy="3734701"/>
          </a:xfrm>
          <a:ln>
            <a:noFill/>
          </a:ln>
        </p:spPr>
        <p:txBody>
          <a:bodyPr anchor="b">
            <a:noAutofit/>
          </a:bodyPr>
          <a:lstStyle>
            <a:lvl1pPr marL="0" indent="0" rtl="0">
              <a:spcBef>
                <a:spcPts val="0"/>
              </a:spcBef>
              <a:buNone/>
              <a:defRPr sz="24000">
                <a:solidFill>
                  <a:srgbClr val="37424D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F4965FD9-3892-477C-AB88-0D957C9CB9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78578" y="2678944"/>
            <a:ext cx="6973235" cy="1724949"/>
          </a:xfrm>
          <a:ln>
            <a:noFill/>
          </a:ln>
        </p:spPr>
        <p:txBody>
          <a:bodyPr lIns="0" anchor="b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 baseline="0">
                <a:solidFill>
                  <a:srgbClr val="37424D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600" b="0" dirty="0"/>
              <a:t>1.1  </a:t>
            </a:r>
            <a:r>
              <a:rPr lang="en-US" sz="1600" b="0" dirty="0" err="1"/>
              <a:t>Unterkapitel</a:t>
            </a:r>
            <a:endParaRPr lang="en-US" sz="1600" b="0" dirty="0"/>
          </a:p>
        </p:txBody>
      </p:sp>
      <p:cxnSp>
        <p:nvCxnSpPr>
          <p:cNvPr id="19" name="Gerade Verbindung 7">
            <a:extLst>
              <a:ext uri="{FF2B5EF4-FFF2-40B4-BE49-F238E27FC236}">
                <a16:creationId xmlns:a16="http://schemas.microsoft.com/office/drawing/2014/main" id="{E168D299-B6B5-4D43-A857-C03873EEC108}"/>
              </a:ext>
            </a:extLst>
          </p:cNvPr>
          <p:cNvCxnSpPr>
            <a:cxnSpLocks/>
          </p:cNvCxnSpPr>
          <p:nvPr/>
        </p:nvCxnSpPr>
        <p:spPr>
          <a:xfrm>
            <a:off x="3577513" y="4461949"/>
            <a:ext cx="69732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Gerade Verbindung 7">
            <a:extLst>
              <a:ext uri="{FF2B5EF4-FFF2-40B4-BE49-F238E27FC236}">
                <a16:creationId xmlns:a16="http://schemas.microsoft.com/office/drawing/2014/main" id="{FB3922D7-A835-4E93-B806-6E35D865E5B0}"/>
              </a:ext>
            </a:extLst>
          </p:cNvPr>
          <p:cNvCxnSpPr>
            <a:cxnSpLocks/>
          </p:cNvCxnSpPr>
          <p:nvPr/>
        </p:nvCxnSpPr>
        <p:spPr>
          <a:xfrm>
            <a:off x="3577513" y="2633149"/>
            <a:ext cx="69732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7D1CBEE-8BA6-493F-8DF7-38AEE3D9A416}"/>
              </a:ext>
            </a:extLst>
          </p:cNvPr>
          <p:cNvGrpSpPr/>
          <p:nvPr/>
        </p:nvGrpSpPr>
        <p:grpSpPr>
          <a:xfrm>
            <a:off x="10838277" y="119472"/>
            <a:ext cx="777990" cy="210312"/>
            <a:chOff x="10838277" y="119472"/>
            <a:chExt cx="777990" cy="21031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B4161771-82BD-426D-8DF1-BE625B506B9C}"/>
                </a:ext>
              </a:extLst>
            </p:cNvPr>
            <p:cNvSpPr/>
            <p:nvPr/>
          </p:nvSpPr>
          <p:spPr>
            <a:xfrm>
              <a:off x="10838277" y="119472"/>
              <a:ext cx="210312" cy="210312"/>
            </a:xfrm>
            <a:prstGeom prst="ellipse">
              <a:avLst/>
            </a:prstGeom>
            <a:solidFill>
              <a:srgbClr val="AEE1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BC305EB-7BE7-456C-A648-A6086309E585}"/>
                </a:ext>
              </a:extLst>
            </p:cNvPr>
            <p:cNvSpPr/>
            <p:nvPr/>
          </p:nvSpPr>
          <p:spPr>
            <a:xfrm>
              <a:off x="11405955" y="119472"/>
              <a:ext cx="210312" cy="210312"/>
            </a:xfrm>
            <a:prstGeom prst="ellipse">
              <a:avLst/>
            </a:prstGeom>
            <a:solidFill>
              <a:srgbClr val="4F9C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436A8E1-FE42-42EF-800C-29DB9C85206F}"/>
                </a:ext>
              </a:extLst>
            </p:cNvPr>
            <p:cNvSpPr/>
            <p:nvPr/>
          </p:nvSpPr>
          <p:spPr>
            <a:xfrm>
              <a:off x="11122116" y="119472"/>
              <a:ext cx="210312" cy="210312"/>
            </a:xfrm>
            <a:prstGeom prst="ellipse">
              <a:avLst/>
            </a:prstGeom>
            <a:solidFill>
              <a:srgbClr val="78B5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A214334-F42A-4729-BD8B-25FBA529E9A3}"/>
              </a:ext>
            </a:extLst>
          </p:cNvPr>
          <p:cNvGrpSpPr/>
          <p:nvPr/>
        </p:nvGrpSpPr>
        <p:grpSpPr>
          <a:xfrm>
            <a:off x="7163267" y="454690"/>
            <a:ext cx="4505729" cy="5948620"/>
            <a:chOff x="7163267" y="356107"/>
            <a:chExt cx="4505729" cy="5948620"/>
          </a:xfrm>
        </p:grpSpPr>
        <p:sp>
          <p:nvSpPr>
            <p:cNvPr id="10" name="Textfeld 9"/>
            <p:cNvSpPr txBox="1"/>
            <p:nvPr/>
          </p:nvSpPr>
          <p:spPr>
            <a:xfrm>
              <a:off x="7163267" y="356107"/>
              <a:ext cx="2324675" cy="47089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rtl="0"/>
              <a:r>
                <a:rPr lang="en-US" sz="30000" dirty="0">
                  <a:solidFill>
                    <a:schemeClr val="accent1"/>
                  </a:solidFill>
                </a:rPr>
                <a:t>?</a:t>
              </a: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8253794" y="975926"/>
              <a:ext cx="2324675" cy="47089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rtl="0"/>
              <a:r>
                <a:rPr lang="en-US" sz="30000" dirty="0">
                  <a:solidFill>
                    <a:schemeClr val="accent3"/>
                  </a:solidFill>
                </a:rPr>
                <a:t>?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9344321" y="1595746"/>
              <a:ext cx="2324675" cy="47089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rtl="0"/>
              <a:r>
                <a:rPr lang="en-US" sz="30000" dirty="0">
                  <a:solidFill>
                    <a:schemeClr val="accent5"/>
                  </a:solidFill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9551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luss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2DB679E-B408-4D58-BDF6-AEA758447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458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icture containing fruit, sitting, tree&#10;&#10;Description automatically generated">
            <a:extLst>
              <a:ext uri="{FF2B5EF4-FFF2-40B4-BE49-F238E27FC236}">
                <a16:creationId xmlns:a16="http://schemas.microsoft.com/office/drawing/2014/main" id="{401EC82F-07AC-43E9-9DD8-47C365418E0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74718"/>
            <a:ext cx="4374572" cy="6096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6FE7B47-4738-4912-A9BA-B8BA4D289A81}"/>
              </a:ext>
            </a:extLst>
          </p:cNvPr>
          <p:cNvSpPr txBox="1"/>
          <p:nvPr/>
        </p:nvSpPr>
        <p:spPr>
          <a:xfrm>
            <a:off x="3752431" y="3322718"/>
            <a:ext cx="4687138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indent="0" algn="ctr" rtl="0">
              <a:buFont typeface="Arial" panose="020B0604020202020204" pitchFamily="34" charset="0"/>
              <a:buNone/>
            </a:pPr>
            <a:r>
              <a:rPr lang="en-US" sz="5400" b="1" noProof="0" dirty="0">
                <a:solidFill>
                  <a:schemeClr val="tx1"/>
                </a:solidFill>
              </a:rPr>
              <a:t>Be the chang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EB2B5F5-B765-409D-B6A1-D54AF4D393B8}"/>
              </a:ext>
            </a:extLst>
          </p:cNvPr>
          <p:cNvGrpSpPr/>
          <p:nvPr/>
        </p:nvGrpSpPr>
        <p:grpSpPr>
          <a:xfrm>
            <a:off x="5240811" y="2716780"/>
            <a:ext cx="1710378" cy="462166"/>
            <a:chOff x="10566958" y="5953475"/>
            <a:chExt cx="710640" cy="192024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DCB73AC-D536-4E04-BF82-056C06BBAE7C}"/>
                </a:ext>
              </a:extLst>
            </p:cNvPr>
            <p:cNvSpPr/>
            <p:nvPr/>
          </p:nvSpPr>
          <p:spPr>
            <a:xfrm>
              <a:off x="10566958" y="5953475"/>
              <a:ext cx="192024" cy="1920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FC35322-FB61-4A37-AD4B-ECD7B0599FC4}"/>
                </a:ext>
              </a:extLst>
            </p:cNvPr>
            <p:cNvSpPr/>
            <p:nvPr/>
          </p:nvSpPr>
          <p:spPr>
            <a:xfrm>
              <a:off x="10826266" y="5953475"/>
              <a:ext cx="192024" cy="1920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896F931-001D-47B1-BFEA-ED25F301A9AA}"/>
                </a:ext>
              </a:extLst>
            </p:cNvPr>
            <p:cNvSpPr/>
            <p:nvPr/>
          </p:nvSpPr>
          <p:spPr>
            <a:xfrm>
              <a:off x="11085574" y="5953475"/>
              <a:ext cx="192024" cy="19202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5158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luss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BAD65B1-1AEC-4E79-A82B-FEB8C3228D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1651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close up of a tree&#10;&#10;Description automatically generated">
            <a:extLst>
              <a:ext uri="{FF2B5EF4-FFF2-40B4-BE49-F238E27FC236}">
                <a16:creationId xmlns:a16="http://schemas.microsoft.com/office/drawing/2014/main" id="{528568BE-87A8-4073-B346-43840F9091C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363FDBC-07C7-45BD-9730-D60A2B1A1251}"/>
              </a:ext>
            </a:extLst>
          </p:cNvPr>
          <p:cNvSpPr/>
          <p:nvPr/>
        </p:nvSpPr>
        <p:spPr>
          <a:xfrm>
            <a:off x="-2" y="2293620"/>
            <a:ext cx="12192001" cy="227076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FE7B47-4738-4912-A9BA-B8BA4D289A81}"/>
              </a:ext>
            </a:extLst>
          </p:cNvPr>
          <p:cNvSpPr txBox="1"/>
          <p:nvPr/>
        </p:nvSpPr>
        <p:spPr>
          <a:xfrm>
            <a:off x="3752431" y="3322718"/>
            <a:ext cx="4687138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indent="0" algn="ctr" rtl="0">
              <a:buFont typeface="Arial" panose="020B0604020202020204" pitchFamily="34" charset="0"/>
              <a:buNone/>
            </a:pPr>
            <a:r>
              <a:rPr lang="en-US" sz="5400" b="1" noProof="0" dirty="0">
                <a:solidFill>
                  <a:schemeClr val="tx1"/>
                </a:solidFill>
              </a:rPr>
              <a:t>Be the chang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9074827-42CF-437E-AD81-B8EA1C5B37C2}"/>
              </a:ext>
            </a:extLst>
          </p:cNvPr>
          <p:cNvGrpSpPr/>
          <p:nvPr/>
        </p:nvGrpSpPr>
        <p:grpSpPr>
          <a:xfrm>
            <a:off x="5240811" y="2716780"/>
            <a:ext cx="1710378" cy="462166"/>
            <a:chOff x="10566958" y="5953475"/>
            <a:chExt cx="710640" cy="192024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F568432-36AF-4B74-AB9E-3D9C218F448B}"/>
                </a:ext>
              </a:extLst>
            </p:cNvPr>
            <p:cNvSpPr/>
            <p:nvPr/>
          </p:nvSpPr>
          <p:spPr>
            <a:xfrm>
              <a:off x="10566958" y="5953475"/>
              <a:ext cx="192024" cy="1920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F9CF3215-B12F-4F52-838B-305D6E0256AF}"/>
                </a:ext>
              </a:extLst>
            </p:cNvPr>
            <p:cNvSpPr/>
            <p:nvPr/>
          </p:nvSpPr>
          <p:spPr>
            <a:xfrm>
              <a:off x="10826266" y="5953475"/>
              <a:ext cx="192024" cy="1920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32D5635-2930-4F1A-A3E9-0DE4B0A83426}"/>
                </a:ext>
              </a:extLst>
            </p:cNvPr>
            <p:cNvSpPr/>
            <p:nvPr/>
          </p:nvSpPr>
          <p:spPr>
            <a:xfrm>
              <a:off x="11085574" y="5953475"/>
              <a:ext cx="192024" cy="19202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9524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luss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1358944-1B50-481B-B841-3B4AD15A27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4184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icture containing tree, rainbow&#10;&#10;Description automatically generated">
            <a:extLst>
              <a:ext uri="{FF2B5EF4-FFF2-40B4-BE49-F238E27FC236}">
                <a16:creationId xmlns:a16="http://schemas.microsoft.com/office/drawing/2014/main" id="{01CDCC87-0E6E-4D9A-B627-05A3D11568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18143"/>
            <a:ext cx="12192000" cy="689428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B978F70-859A-4F2B-9A4F-C001C2DCC4E9}"/>
              </a:ext>
            </a:extLst>
          </p:cNvPr>
          <p:cNvSpPr/>
          <p:nvPr/>
        </p:nvSpPr>
        <p:spPr>
          <a:xfrm>
            <a:off x="-2" y="2293620"/>
            <a:ext cx="12192001" cy="227076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FE7B47-4738-4912-A9BA-B8BA4D289A81}"/>
              </a:ext>
            </a:extLst>
          </p:cNvPr>
          <p:cNvSpPr txBox="1"/>
          <p:nvPr/>
        </p:nvSpPr>
        <p:spPr>
          <a:xfrm>
            <a:off x="3752431" y="3322718"/>
            <a:ext cx="4687138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indent="0" algn="ctr" rtl="0">
              <a:buFont typeface="Arial" panose="020B0604020202020204" pitchFamily="34" charset="0"/>
              <a:buNone/>
            </a:pPr>
            <a:r>
              <a:rPr lang="en-US" sz="5400" b="1" noProof="0" dirty="0">
                <a:solidFill>
                  <a:schemeClr val="tx1"/>
                </a:solidFill>
              </a:rPr>
              <a:t>Be the chang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CE4099B-8E8A-45AE-B661-A384E1168A49}"/>
              </a:ext>
            </a:extLst>
          </p:cNvPr>
          <p:cNvGrpSpPr/>
          <p:nvPr/>
        </p:nvGrpSpPr>
        <p:grpSpPr>
          <a:xfrm>
            <a:off x="5240811" y="2716780"/>
            <a:ext cx="1710378" cy="462166"/>
            <a:chOff x="10566958" y="5953475"/>
            <a:chExt cx="710640" cy="192024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1A0E14E-79E4-4492-8BEA-CAD6C507501A}"/>
                </a:ext>
              </a:extLst>
            </p:cNvPr>
            <p:cNvSpPr/>
            <p:nvPr/>
          </p:nvSpPr>
          <p:spPr>
            <a:xfrm>
              <a:off x="10566958" y="5953475"/>
              <a:ext cx="192024" cy="1920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8D291DE-429F-4AFB-B828-BB02E2826E5C}"/>
                </a:ext>
              </a:extLst>
            </p:cNvPr>
            <p:cNvSpPr/>
            <p:nvPr/>
          </p:nvSpPr>
          <p:spPr>
            <a:xfrm>
              <a:off x="10826266" y="5953475"/>
              <a:ext cx="192024" cy="1920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D895CC24-661A-4EFF-8B6F-5F3885A3E683}"/>
                </a:ext>
              </a:extLst>
            </p:cNvPr>
            <p:cNvSpPr/>
            <p:nvPr/>
          </p:nvSpPr>
          <p:spPr>
            <a:xfrm>
              <a:off x="11085574" y="5953475"/>
              <a:ext cx="192024" cy="19202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4707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AB8A973-55E1-4EF9-A026-8F0DF0F523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306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5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AB8A973-55E1-4EF9-A026-8F0DF0F52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70461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7317">
          <p15:clr>
            <a:srgbClr val="FBAE40"/>
          </p15:clr>
        </p15:guide>
        <p15:guide id="3" pos="363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pos="3689">
          <p15:clr>
            <a:srgbClr val="FBAE40"/>
          </p15:clr>
        </p15:guide>
        <p15:guide id="6" pos="399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21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21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EC4C85-D614-4E13-9C06-1649675F3038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33407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think-cell Folie" r:id="rId23" imgW="526" imgH="526" progId="TCLayout.ActiveDocument.1">
                  <p:embed/>
                </p:oleObj>
              </mc:Choice>
              <mc:Fallback>
                <p:oleObj name="think-cell Folie" r:id="rId23" imgW="526" imgH="5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EC4C85-D614-4E13-9C06-1649675F3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96848" y="333328"/>
            <a:ext cx="11145781" cy="707886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/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br>
              <a:rPr lang="en-US" noProof="0" dirty="0"/>
            </a:br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Zei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96848" y="1414464"/>
            <a:ext cx="11145781" cy="4711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Ebene</a:t>
            </a:r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Ebene</a:t>
            </a:r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Ebene</a:t>
            </a:r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20301" y="6492880"/>
            <a:ext cx="722328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 rtl="0">
              <a:defRPr sz="9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fld id="{897628EF-3FE1-442D-BDA0-D2D2ED59F32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-1060626" y="2426370"/>
            <a:ext cx="344860" cy="20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 dirty="0">
              <a:noFill/>
              <a:latin typeface="Arial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-1060626" y="2150484"/>
            <a:ext cx="344860" cy="203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 dirty="0">
              <a:noFill/>
              <a:latin typeface="Arial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-1060626" y="2702256"/>
            <a:ext cx="344860" cy="203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 dirty="0">
              <a:noFill/>
              <a:latin typeface="Arial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-1060626" y="2978142"/>
            <a:ext cx="344860" cy="2032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 dirty="0">
              <a:noFill/>
              <a:latin typeface="Arial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-1060626" y="3529914"/>
            <a:ext cx="344860" cy="203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 dirty="0">
              <a:noFill/>
              <a:latin typeface="Arial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-1060626" y="4081686"/>
            <a:ext cx="344860" cy="203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 dirty="0">
              <a:noFill/>
              <a:latin typeface="Arial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-1060626" y="3805800"/>
            <a:ext cx="344860" cy="2032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 dirty="0">
              <a:noFill/>
              <a:latin typeface="Arial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-1060626" y="3254028"/>
            <a:ext cx="344860" cy="203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 dirty="0">
              <a:noFill/>
              <a:latin typeface="Arial"/>
            </a:endParaRPr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E39E3A14-6DF9-A94C-9CC0-4A1F77F85FA8}"/>
              </a:ext>
            </a:extLst>
          </p:cNvPr>
          <p:cNvSpPr/>
          <p:nvPr/>
        </p:nvSpPr>
        <p:spPr>
          <a:xfrm>
            <a:off x="-2426563" y="2068948"/>
            <a:ext cx="1905453" cy="230832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indent="0" rtl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accent1"/>
                </a:solidFill>
              </a:rPr>
              <a:t>#AEE154</a:t>
            </a:r>
          </a:p>
          <a:p>
            <a:pPr marL="0" indent="0" rtl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accent2"/>
                </a:solidFill>
              </a:rPr>
              <a:t>#78B533</a:t>
            </a:r>
          </a:p>
          <a:p>
            <a:pPr marL="0" indent="0" rtl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accent3"/>
                </a:solidFill>
              </a:rPr>
              <a:t>#4F9C29</a:t>
            </a:r>
          </a:p>
          <a:p>
            <a:pPr marL="0" indent="0" rtl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accent4"/>
                </a:solidFill>
              </a:rPr>
              <a:t>#126B00</a:t>
            </a:r>
          </a:p>
          <a:p>
            <a:pPr marL="0" indent="0" rtl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accent5"/>
                </a:solidFill>
              </a:rPr>
              <a:t>#023D5D</a:t>
            </a:r>
          </a:p>
          <a:p>
            <a:pPr marL="0" indent="0" rtl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2"/>
                </a:solidFill>
              </a:rPr>
              <a:t>#E7EDF1</a:t>
            </a:r>
          </a:p>
          <a:p>
            <a:pPr marL="0" indent="0" rtl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accent6"/>
                </a:solidFill>
              </a:rPr>
              <a:t>#BDC5CC</a:t>
            </a:r>
          </a:p>
          <a:p>
            <a:pPr marL="0" indent="0" rtl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tx2"/>
                </a:solidFill>
              </a:rPr>
              <a:t>#7F8A94</a:t>
            </a:r>
          </a:p>
        </p:txBody>
      </p:sp>
    </p:spTree>
    <p:extLst>
      <p:ext uri="{BB962C8B-B14F-4D97-AF65-F5344CB8AC3E}">
        <p14:creationId xmlns:p14="http://schemas.microsoft.com/office/powerpoint/2010/main" val="1928056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769" r:id="rId13"/>
    <p:sldLayoutId id="2147483770" r:id="rId14"/>
    <p:sldLayoutId id="2147483782" r:id="rId15"/>
    <p:sldLayoutId id="2147483783" r:id="rId16"/>
    <p:sldLayoutId id="2147483795" r:id="rId17"/>
    <p:sldLayoutId id="2147483796" r:id="rId18"/>
    <p:sldLayoutId id="2147483797" r:id="rId19"/>
  </p:sldLayoutIdLst>
  <p:txStyles>
    <p:titleStyle>
      <a:lvl1pPr algn="l" defTabSz="457200" rtl="0" eaLnBrk="1" latinLnBrk="0" hangingPunct="1">
        <a:spcBef>
          <a:spcPct val="0"/>
        </a:spcBef>
        <a:buNone/>
        <a:defRPr sz="2000" kern="1200" baseline="0">
          <a:solidFill>
            <a:srgbClr val="3F3F3F"/>
          </a:solidFill>
          <a:latin typeface="Arial"/>
          <a:ea typeface="+mj-ea"/>
          <a:cs typeface="Arial"/>
        </a:defRPr>
      </a:lvl1pPr>
    </p:titleStyle>
    <p:bodyStyle>
      <a:lvl1pPr marL="180000" indent="-180000" algn="l" defTabSz="457200" rtl="0" eaLnBrk="1" latinLnBrk="0" hangingPunct="1">
        <a:spcBef>
          <a:spcPct val="20000"/>
        </a:spcBef>
        <a:buFont typeface="Arial"/>
        <a:buChar char="•"/>
        <a:defRPr sz="1400" kern="1200">
          <a:solidFill>
            <a:srgbClr val="3F3F3F"/>
          </a:solidFill>
          <a:latin typeface="Arial"/>
          <a:ea typeface="+mn-ea"/>
          <a:cs typeface="Arial"/>
        </a:defRPr>
      </a:lvl1pPr>
      <a:lvl2pPr marL="742950" indent="-1800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rgbClr val="3F3F3F"/>
          </a:solidFill>
          <a:latin typeface="Arial"/>
          <a:ea typeface="+mn-ea"/>
          <a:cs typeface="Arial"/>
        </a:defRPr>
      </a:lvl2pPr>
      <a:lvl3pPr marL="1143000" indent="-1800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rgbClr val="3F3F3F"/>
          </a:solidFill>
          <a:latin typeface="Arial"/>
          <a:ea typeface="+mn-ea"/>
          <a:cs typeface="Arial"/>
        </a:defRPr>
      </a:lvl3pPr>
      <a:lvl4pPr marL="1600200" indent="-1800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00" kern="1200">
          <a:solidFill>
            <a:srgbClr val="3F3F3F"/>
          </a:solidFill>
          <a:latin typeface="Arial"/>
          <a:ea typeface="+mn-ea"/>
          <a:cs typeface="Arial"/>
        </a:defRPr>
      </a:lvl4pPr>
      <a:lvl5pPr marL="2057400" indent="-1800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00" kern="1200">
          <a:solidFill>
            <a:srgbClr val="3F3F3F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976CF4F-709A-43ED-93C4-52017DB549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93419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9" name="think-cell Folie" r:id="rId15" imgW="360" imgH="360" progId="TCLayout.ActiveDocument.1">
                  <p:embed/>
                </p:oleObj>
              </mc:Choice>
              <mc:Fallback>
                <p:oleObj name="think-cell Folie" r:id="rId1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DDBE231-7074-48F2-B4C8-1E12F4498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F17AE2-8404-4FF8-8670-1F70AB82BF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9EA3D2-9E63-4DE0-8EB9-72B49C64DE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351BE7-AD5A-408A-B512-3F1E81E02D30}" type="datetimeFigureOut">
              <a:rPr lang="en-US" smtClean="0"/>
              <a:pPr/>
              <a:t>3/25/2022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1E6B26-51BC-46F2-998D-5C1D49A603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5BA811A-6357-498C-A373-31E96D9675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DE407C-721A-4FF5-8BFB-628C5149233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031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7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8.jpg"/><Relationship Id="rId12" Type="http://schemas.openxmlformats.org/officeDocument/2006/relationships/image" Target="../media/image1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11" Type="http://schemas.openxmlformats.org/officeDocument/2006/relationships/image" Target="../media/image12.jpg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12" Type="http://schemas.microsoft.com/office/2007/relationships/hdphoto" Target="../media/hdphoto1.wdp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0.jp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3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24.jpg"/><Relationship Id="rId12" Type="http://schemas.openxmlformats.org/officeDocument/2006/relationships/image" Target="../media/image2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3" Type="http://schemas.openxmlformats.org/officeDocument/2006/relationships/tags" Target="../tags/tag41.xml"/><Relationship Id="rId7" Type="http://schemas.openxmlformats.org/officeDocument/2006/relationships/notesSlide" Target="../notesSlides/notesSlide7.xml"/><Relationship Id="rId12" Type="http://schemas.openxmlformats.org/officeDocument/2006/relationships/image" Target="../media/image3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32.png"/><Relationship Id="rId5" Type="http://schemas.openxmlformats.org/officeDocument/2006/relationships/tags" Target="../tags/tag43.xml"/><Relationship Id="rId10" Type="http://schemas.openxmlformats.org/officeDocument/2006/relationships/image" Target="../media/image31.jpg"/><Relationship Id="rId4" Type="http://schemas.openxmlformats.org/officeDocument/2006/relationships/tags" Target="../tags/tag42.xml"/><Relationship Id="rId9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4.jpg"/><Relationship Id="rId12" Type="http://schemas.openxmlformats.org/officeDocument/2006/relationships/image" Target="../media/image39.png"/><Relationship Id="rId2" Type="http://schemas.openxmlformats.org/officeDocument/2006/relationships/tags" Target="../tags/tag4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11" Type="http://schemas.openxmlformats.org/officeDocument/2006/relationships/image" Target="../media/image38.pn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37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8414237-3420-4FAC-8E3A-54C79F3C61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5678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8414237-3420-4FAC-8E3A-54C79F3C6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2" descr="Ein Bild, das Himmel, draußen, Stadt, bewölkt enthält.&#10;&#10;Beschreibung automatisch generiert.">
            <a:extLst>
              <a:ext uri="{FF2B5EF4-FFF2-40B4-BE49-F238E27FC236}">
                <a16:creationId xmlns:a16="http://schemas.microsoft.com/office/drawing/2014/main" id="{62F67056-8B61-DBBF-3463-2F5B7C4C246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1457" b="21457"/>
          <a:stretch/>
        </p:blipFill>
        <p:spPr>
          <a:xfrm>
            <a:off x="2674" y="2879"/>
            <a:ext cx="12189636" cy="521926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6" name="TextBox 35"/>
          <p:cNvSpPr txBox="1"/>
          <p:nvPr/>
        </p:nvSpPr>
        <p:spPr>
          <a:xfrm>
            <a:off x="1150823" y="5509567"/>
            <a:ext cx="9894144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ea typeface="+mn-lt"/>
                <a:cs typeface="+mn-lt"/>
              </a:rPr>
              <a:t>START Hack 2022 </a:t>
            </a:r>
          </a:p>
          <a:p>
            <a:r>
              <a:rPr lang="en-US" b="1" dirty="0">
                <a:solidFill>
                  <a:schemeClr val="bg2"/>
                </a:solidFill>
                <a:ea typeface="+mn-lt"/>
                <a:cs typeface="+mn-lt"/>
              </a:rPr>
              <a:t>Nerds &amp; </a:t>
            </a:r>
            <a:r>
              <a:rPr lang="en-US" b="1" dirty="0" err="1">
                <a:solidFill>
                  <a:schemeClr val="bg2"/>
                </a:solidFill>
                <a:ea typeface="+mn-lt"/>
                <a:cs typeface="+mn-lt"/>
              </a:rPr>
              <a:t>Nerdbusters</a:t>
            </a:r>
            <a:endParaRPr lang="en-US" b="1" dirty="0">
              <a:solidFill>
                <a:schemeClr val="bg2"/>
              </a:solidFill>
              <a:ea typeface="+mn-lt"/>
              <a:cs typeface="+mn-lt"/>
            </a:endParaRPr>
          </a:p>
          <a:p>
            <a:r>
              <a:rPr lang="en-US" b="1" dirty="0">
                <a:solidFill>
                  <a:schemeClr val="bg2"/>
                </a:solidFill>
                <a:ea typeface="+mn-lt"/>
                <a:cs typeface="+mn-lt"/>
              </a:rPr>
              <a:t>Machine Learning based prediction of landslides </a:t>
            </a:r>
            <a:endParaRPr lang="en-US" sz="2800" dirty="0">
              <a:solidFill>
                <a:schemeClr val="bg2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818298" y="1407682"/>
            <a:ext cx="7808213" cy="442751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2650" b="1" dirty="0">
                <a:solidFill>
                  <a:srgbClr val="002060"/>
                </a:solidFill>
                <a:latin typeface="Raleway"/>
                <a:cs typeface="Raleway"/>
              </a:rPr>
              <a:t>THE FUTURE OF LANDSLIDE PREDICTION</a:t>
            </a:r>
          </a:p>
        </p:txBody>
      </p:sp>
      <p:sp>
        <p:nvSpPr>
          <p:cNvPr id="56" name="Rectangle 55"/>
          <p:cNvSpPr/>
          <p:nvPr/>
        </p:nvSpPr>
        <p:spPr>
          <a:xfrm>
            <a:off x="597057" y="1405879"/>
            <a:ext cx="1170915" cy="2137268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lnSpc>
                <a:spcPct val="140000"/>
              </a:lnSpc>
            </a:pPr>
            <a:endParaRPr lang="en-US" sz="12800" b="1" dirty="0">
              <a:solidFill>
                <a:schemeClr val="bg1"/>
              </a:solidFill>
              <a:latin typeface="MS Gothic" panose="020B0609070205080204" pitchFamily="49" charset="-128"/>
              <a:ea typeface="MS Gothic" panose="020B0609070205080204" pitchFamily="49" charset="-128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61735E1-39A4-FE48-F1A9-60A6AE77EEF2}"/>
              </a:ext>
            </a:extLst>
          </p:cNvPr>
          <p:cNvSpPr txBox="1"/>
          <p:nvPr/>
        </p:nvSpPr>
        <p:spPr>
          <a:xfrm>
            <a:off x="4724400" y="3200399"/>
            <a:ext cx="18473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endParaRPr lang="en-US" sz="1400" dirty="0">
              <a:cs typeface="Arial"/>
            </a:endParaRPr>
          </a:p>
        </p:txBody>
      </p:sp>
      <p:sp>
        <p:nvSpPr>
          <p:cNvPr id="12" name="Rectangle 54">
            <a:extLst>
              <a:ext uri="{FF2B5EF4-FFF2-40B4-BE49-F238E27FC236}">
                <a16:creationId xmlns:a16="http://schemas.microsoft.com/office/drawing/2014/main" id="{F718BE25-F9E3-4CCC-BAEF-3CEC789C9CA0}"/>
              </a:ext>
            </a:extLst>
          </p:cNvPr>
          <p:cNvSpPr/>
          <p:nvPr/>
        </p:nvSpPr>
        <p:spPr>
          <a:xfrm>
            <a:off x="4818298" y="1916477"/>
            <a:ext cx="7808213" cy="442751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2400" b="1" i="1" dirty="0">
                <a:solidFill>
                  <a:srgbClr val="002060"/>
                </a:solidFill>
                <a:latin typeface="Raleway"/>
                <a:cs typeface="Raleway"/>
              </a:rPr>
              <a:t>Data Science To Save Lives</a:t>
            </a:r>
          </a:p>
        </p:txBody>
      </p:sp>
    </p:spTree>
    <p:extLst>
      <p:ext uri="{BB962C8B-B14F-4D97-AF65-F5344CB8AC3E}">
        <p14:creationId xmlns:p14="http://schemas.microsoft.com/office/powerpoint/2010/main" val="719260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412ADE9-99F7-4ED6-8965-F2827D6051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398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412ADE9-99F7-4ED6-8965-F2827D6051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Oval 32"/>
          <p:cNvSpPr/>
          <p:nvPr/>
        </p:nvSpPr>
        <p:spPr>
          <a:xfrm>
            <a:off x="3649925" y="1492438"/>
            <a:ext cx="2057967" cy="205796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4" name="Oval 33"/>
          <p:cNvSpPr/>
          <p:nvPr/>
        </p:nvSpPr>
        <p:spPr>
          <a:xfrm>
            <a:off x="6479017" y="1493499"/>
            <a:ext cx="2057967" cy="205796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5" name="Oval 34"/>
          <p:cNvSpPr/>
          <p:nvPr/>
        </p:nvSpPr>
        <p:spPr>
          <a:xfrm>
            <a:off x="9303331" y="1492437"/>
            <a:ext cx="2057967" cy="205796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2" name="Oval 31"/>
          <p:cNvSpPr/>
          <p:nvPr/>
        </p:nvSpPr>
        <p:spPr>
          <a:xfrm>
            <a:off x="783711" y="1501350"/>
            <a:ext cx="2057967" cy="205796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1917" y="401132"/>
            <a:ext cx="11145781" cy="461665"/>
          </a:xfrm>
        </p:spPr>
        <p:txBody>
          <a:bodyPr vert="horz"/>
          <a:lstStyle/>
          <a:p>
            <a:r>
              <a:rPr lang="en-US" sz="2400" b="1" dirty="0">
                <a:solidFill>
                  <a:srgbClr val="000000"/>
                </a:solidFill>
                <a:latin typeface="Raleway" pitchFamily="2" charset="0"/>
              </a:rPr>
              <a:t>3 different universities, 4 different fields of study – 1 joint mission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5" name="Textfeld 38"/>
          <p:cNvSpPr txBox="1"/>
          <p:nvPr/>
        </p:nvSpPr>
        <p:spPr>
          <a:xfrm>
            <a:off x="783713" y="3854683"/>
            <a:ext cx="2030164" cy="1251561"/>
          </a:xfrm>
          <a:prstGeom prst="rect">
            <a:avLst/>
          </a:prstGeom>
        </p:spPr>
        <p:txBody>
          <a:bodyPr vert="horz" wrap="square" rtlCol="0">
            <a:spAutoFit/>
          </a:bodyPr>
          <a:lstStyle/>
          <a:p>
            <a:pPr algn="ctr"/>
            <a:r>
              <a:rPr lang="en-US" sz="2133" b="1" kern="900" dirty="0">
                <a:solidFill>
                  <a:srgbClr val="000000"/>
                </a:solidFill>
                <a:latin typeface="Raleway"/>
                <a:cs typeface="Raleway"/>
              </a:rPr>
              <a:t>Leopold </a:t>
            </a:r>
            <a:endParaRPr lang="en-US" sz="1333" kern="900" dirty="0">
              <a:solidFill>
                <a:srgbClr val="000000"/>
              </a:solidFill>
              <a:latin typeface="Raleway"/>
              <a:cs typeface="Raleway"/>
            </a:endParaRPr>
          </a:p>
          <a:p>
            <a:pPr algn="ctr"/>
            <a:endParaRPr lang="en-US" b="1" dirty="0">
              <a:solidFill>
                <a:srgbClr val="000000"/>
              </a:solidFill>
              <a:latin typeface="Calibri Light" panose="020F0302020204030204" pitchFamily="34" charset="0"/>
              <a:ea typeface="Roboto Light" panose="02000000000000000000" pitchFamily="2" charset="0"/>
            </a:endParaRPr>
          </a:p>
          <a:p>
            <a:pPr algn="ctr"/>
            <a:r>
              <a:rPr lang="en-US" b="1" dirty="0">
                <a:solidFill>
                  <a:srgbClr val="000000"/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Electrotechnical Engineering</a:t>
            </a:r>
            <a:endParaRPr lang="en-US" b="1" kern="900" dirty="0">
              <a:solidFill>
                <a:srgbClr val="000000"/>
              </a:solidFill>
              <a:latin typeface="Calibri Light" panose="020F0302020204030204" pitchFamily="34" charset="0"/>
              <a:cs typeface="Raleway"/>
            </a:endParaRPr>
          </a:p>
        </p:txBody>
      </p:sp>
      <p:sp>
        <p:nvSpPr>
          <p:cNvPr id="26" name="Textfeld 39"/>
          <p:cNvSpPr txBox="1"/>
          <p:nvPr/>
        </p:nvSpPr>
        <p:spPr>
          <a:xfrm>
            <a:off x="3670997" y="3844424"/>
            <a:ext cx="2048959" cy="974562"/>
          </a:xfrm>
          <a:prstGeom prst="rect">
            <a:avLst/>
          </a:prstGeom>
        </p:spPr>
        <p:txBody>
          <a:bodyPr vert="horz" wrap="none" rtlCol="0">
            <a:spAutoFit/>
          </a:bodyPr>
          <a:lstStyle/>
          <a:p>
            <a:pPr algn="ctr"/>
            <a:r>
              <a:rPr lang="en-US" sz="2133" b="1" kern="900" dirty="0">
                <a:solidFill>
                  <a:srgbClr val="000000"/>
                </a:solidFill>
                <a:latin typeface="Raleway"/>
                <a:cs typeface="Raleway"/>
              </a:rPr>
              <a:t>Florian</a:t>
            </a:r>
            <a:endParaRPr lang="en-US" sz="1400" kern="900" dirty="0">
              <a:solidFill>
                <a:srgbClr val="000000"/>
              </a:solidFill>
              <a:latin typeface="Raleway"/>
              <a:cs typeface="Raleway"/>
            </a:endParaRPr>
          </a:p>
          <a:p>
            <a:pPr algn="ctr"/>
            <a:endParaRPr lang="en-US" b="1" kern="900" dirty="0">
              <a:solidFill>
                <a:srgbClr val="000000"/>
              </a:solidFill>
              <a:latin typeface="Calibri Light" panose="020F0302020204030204" pitchFamily="34" charset="0"/>
              <a:ea typeface="Roboto Light" panose="02000000000000000000" pitchFamily="2" charset="0"/>
              <a:cs typeface="Raleway"/>
            </a:endParaRPr>
          </a:p>
          <a:p>
            <a:pPr algn="ctr"/>
            <a:r>
              <a:rPr lang="en-US" b="1" kern="900" dirty="0">
                <a:solidFill>
                  <a:srgbClr val="000000"/>
                </a:solidFill>
                <a:latin typeface="Calibri Light" panose="020F0302020204030204" pitchFamily="34" charset="0"/>
                <a:ea typeface="Roboto Light" panose="02000000000000000000" pitchFamily="2" charset="0"/>
                <a:cs typeface="Raleway"/>
              </a:rPr>
              <a:t>Engineering Science </a:t>
            </a:r>
            <a:endParaRPr lang="en-US" b="1" kern="900" dirty="0">
              <a:solidFill>
                <a:srgbClr val="000000"/>
              </a:solidFill>
              <a:latin typeface="Calibri Light" panose="020F0302020204030204" pitchFamily="34" charset="0"/>
              <a:cs typeface="Raleway"/>
            </a:endParaRPr>
          </a:p>
        </p:txBody>
      </p:sp>
      <p:sp>
        <p:nvSpPr>
          <p:cNvPr id="27" name="Textfeld 40"/>
          <p:cNvSpPr txBox="1"/>
          <p:nvPr/>
        </p:nvSpPr>
        <p:spPr>
          <a:xfrm>
            <a:off x="6334606" y="3854683"/>
            <a:ext cx="2352887" cy="902683"/>
          </a:xfrm>
          <a:prstGeom prst="rect">
            <a:avLst/>
          </a:prstGeom>
        </p:spPr>
        <p:txBody>
          <a:bodyPr vert="horz" wrap="none" rtlCol="0">
            <a:spAutoFit/>
          </a:bodyPr>
          <a:lstStyle/>
          <a:p>
            <a:pPr algn="ctr"/>
            <a:r>
              <a:rPr lang="en-US" sz="2133" b="1" kern="900" dirty="0">
                <a:solidFill>
                  <a:srgbClr val="000000"/>
                </a:solidFill>
                <a:latin typeface="Raleway"/>
                <a:cs typeface="Raleway"/>
              </a:rPr>
              <a:t>Elsa</a:t>
            </a:r>
          </a:p>
          <a:p>
            <a:pPr algn="ctr"/>
            <a:endParaRPr lang="en-US" sz="1333" kern="900" dirty="0">
              <a:solidFill>
                <a:srgbClr val="000000"/>
              </a:solidFill>
              <a:latin typeface="Raleway"/>
            </a:endParaRPr>
          </a:p>
          <a:p>
            <a:pPr algn="ctr"/>
            <a:r>
              <a:rPr lang="en-US" b="1" dirty="0">
                <a:solidFill>
                  <a:srgbClr val="000000"/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Mechanical Engineering</a:t>
            </a:r>
            <a:endParaRPr lang="en-US" b="1" kern="900" dirty="0">
              <a:solidFill>
                <a:srgbClr val="000000"/>
              </a:solidFill>
              <a:latin typeface="Calibri Light" panose="020F0302020204030204" pitchFamily="34" charset="0"/>
              <a:cs typeface="Raleway"/>
            </a:endParaRPr>
          </a:p>
        </p:txBody>
      </p:sp>
      <p:sp>
        <p:nvSpPr>
          <p:cNvPr id="28" name="Textfeld 44"/>
          <p:cNvSpPr txBox="1"/>
          <p:nvPr/>
        </p:nvSpPr>
        <p:spPr>
          <a:xfrm>
            <a:off x="9184186" y="3854683"/>
            <a:ext cx="2356800" cy="902683"/>
          </a:xfrm>
          <a:prstGeom prst="rect">
            <a:avLst/>
          </a:prstGeom>
        </p:spPr>
        <p:txBody>
          <a:bodyPr vert="horz" wrap="none" rtlCol="0">
            <a:spAutoFit/>
          </a:bodyPr>
          <a:lstStyle/>
          <a:p>
            <a:pPr algn="ctr"/>
            <a:r>
              <a:rPr lang="en-US" sz="2133" b="1" kern="900" dirty="0">
                <a:solidFill>
                  <a:srgbClr val="000000"/>
                </a:solidFill>
                <a:latin typeface="Raleway"/>
                <a:cs typeface="Raleway"/>
              </a:rPr>
              <a:t>Benedikt</a:t>
            </a:r>
            <a:endParaRPr lang="en-US" sz="2133" kern="900" dirty="0">
              <a:solidFill>
                <a:srgbClr val="000000"/>
              </a:solidFill>
              <a:latin typeface="Raleway"/>
              <a:cs typeface="Raleway"/>
            </a:endParaRPr>
          </a:p>
          <a:p>
            <a:pPr algn="ctr"/>
            <a:endParaRPr lang="en-US" sz="1333" kern="900" dirty="0">
              <a:solidFill>
                <a:srgbClr val="000000"/>
              </a:solidFill>
              <a:latin typeface="Raleway"/>
              <a:cs typeface="Raleway"/>
            </a:endParaRPr>
          </a:p>
          <a:p>
            <a:pPr algn="ctr"/>
            <a:r>
              <a:rPr lang="en-US" b="1" dirty="0">
                <a:solidFill>
                  <a:srgbClr val="000000"/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Business Administration</a:t>
            </a:r>
            <a:endParaRPr lang="en-US" sz="1333" b="1" kern="900" dirty="0">
              <a:solidFill>
                <a:srgbClr val="000000"/>
              </a:solidFill>
              <a:latin typeface="Calibri Light" panose="020F0302020204030204" pitchFamily="34" charset="0"/>
              <a:cs typeface="Raleway"/>
            </a:endParaRPr>
          </a:p>
        </p:txBody>
      </p:sp>
      <p:sp>
        <p:nvSpPr>
          <p:cNvPr id="42" name="Freeform 95">
            <a:extLst>
              <a:ext uri="{FF2B5EF4-FFF2-40B4-BE49-F238E27FC236}">
                <a16:creationId xmlns:a16="http://schemas.microsoft.com/office/drawing/2014/main" id="{203814D3-7843-40B3-8C20-31CA8AE026C0}"/>
              </a:ext>
            </a:extLst>
          </p:cNvPr>
          <p:cNvSpPr/>
          <p:nvPr/>
        </p:nvSpPr>
        <p:spPr>
          <a:xfrm>
            <a:off x="1219544" y="5791169"/>
            <a:ext cx="8238122" cy="974563"/>
          </a:xfrm>
          <a:custGeom>
            <a:avLst/>
            <a:gdLst>
              <a:gd name="connsiteX0" fmla="*/ 4581582 w 4684528"/>
              <a:gd name="connsiteY0" fmla="*/ 0 h 1458098"/>
              <a:gd name="connsiteX1" fmla="*/ 4684528 w 4684528"/>
              <a:gd name="connsiteY1" fmla="*/ 84779 h 1458098"/>
              <a:gd name="connsiteX2" fmla="*/ 3394679 w 4684528"/>
              <a:gd name="connsiteY2" fmla="*/ 1332239 h 1458098"/>
              <a:gd name="connsiteX3" fmla="*/ 2716448 w 4684528"/>
              <a:gd name="connsiteY3" fmla="*/ 641897 h 1458098"/>
              <a:gd name="connsiteX4" fmla="*/ 1929217 w 4684528"/>
              <a:gd name="connsiteY4" fmla="*/ 1417018 h 1458098"/>
              <a:gd name="connsiteX5" fmla="*/ 1014817 w 4684528"/>
              <a:gd name="connsiteY5" fmla="*/ 490506 h 1458098"/>
              <a:gd name="connsiteX6" fmla="*/ 16577 w 4684528"/>
              <a:gd name="connsiteY6" fmla="*/ 1458098 h 1458098"/>
              <a:gd name="connsiteX7" fmla="*/ 0 w 4684528"/>
              <a:gd name="connsiteY7" fmla="*/ 1458098 h 1458098"/>
              <a:gd name="connsiteX8" fmla="*/ 1008761 w 4684528"/>
              <a:gd name="connsiteY8" fmla="*/ 436006 h 1458098"/>
              <a:gd name="connsiteX9" fmla="*/ 1929217 w 4684528"/>
              <a:gd name="connsiteY9" fmla="*/ 1344350 h 1458098"/>
              <a:gd name="connsiteX10" fmla="*/ 2716448 w 4684528"/>
              <a:gd name="connsiteY10" fmla="*/ 545007 h 1458098"/>
              <a:gd name="connsiteX11" fmla="*/ 3388623 w 4684528"/>
              <a:gd name="connsiteY11" fmla="*/ 1211126 h 1458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84528" h="1458098">
                <a:moveTo>
                  <a:pt x="4581582" y="0"/>
                </a:moveTo>
                <a:lnTo>
                  <a:pt x="4684528" y="84779"/>
                </a:lnTo>
                <a:lnTo>
                  <a:pt x="3394679" y="1332239"/>
                </a:lnTo>
                <a:lnTo>
                  <a:pt x="2716448" y="641897"/>
                </a:lnTo>
                <a:lnTo>
                  <a:pt x="1929217" y="1417018"/>
                </a:lnTo>
                <a:lnTo>
                  <a:pt x="1014817" y="490506"/>
                </a:lnTo>
                <a:lnTo>
                  <a:pt x="16577" y="1458098"/>
                </a:lnTo>
                <a:lnTo>
                  <a:pt x="0" y="1458098"/>
                </a:lnTo>
                <a:lnTo>
                  <a:pt x="1008761" y="436006"/>
                </a:lnTo>
                <a:lnTo>
                  <a:pt x="1929217" y="1344350"/>
                </a:lnTo>
                <a:lnTo>
                  <a:pt x="2716448" y="545007"/>
                </a:lnTo>
                <a:lnTo>
                  <a:pt x="3388623" y="121112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3" name="Group 56">
            <a:extLst>
              <a:ext uri="{FF2B5EF4-FFF2-40B4-BE49-F238E27FC236}">
                <a16:creationId xmlns:a16="http://schemas.microsoft.com/office/drawing/2014/main" id="{24938200-6267-4B70-A9C0-AB937400B9D4}"/>
              </a:ext>
            </a:extLst>
          </p:cNvPr>
          <p:cNvGrpSpPr/>
          <p:nvPr/>
        </p:nvGrpSpPr>
        <p:grpSpPr>
          <a:xfrm rot="1236420">
            <a:off x="9849105" y="4432812"/>
            <a:ext cx="1697981" cy="1705954"/>
            <a:chOff x="6135613" y="614704"/>
            <a:chExt cx="1889929" cy="1898801"/>
          </a:xfrm>
        </p:grpSpPr>
        <p:sp>
          <p:nvSpPr>
            <p:cNvPr id="44" name="Freeform 905">
              <a:extLst>
                <a:ext uri="{FF2B5EF4-FFF2-40B4-BE49-F238E27FC236}">
                  <a16:creationId xmlns:a16="http://schemas.microsoft.com/office/drawing/2014/main" id="{1724E11F-000B-4AD9-8A36-329F01372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5613" y="1916063"/>
              <a:ext cx="595963" cy="597442"/>
            </a:xfrm>
            <a:custGeom>
              <a:avLst/>
              <a:gdLst>
                <a:gd name="T0" fmla="*/ 200 w 200"/>
                <a:gd name="T1" fmla="*/ 88 h 200"/>
                <a:gd name="T2" fmla="*/ 177 w 200"/>
                <a:gd name="T3" fmla="*/ 24 h 200"/>
                <a:gd name="T4" fmla="*/ 111 w 200"/>
                <a:gd name="T5" fmla="*/ 0 h 200"/>
                <a:gd name="T6" fmla="*/ 8 w 200"/>
                <a:gd name="T7" fmla="*/ 103 h 200"/>
                <a:gd name="T8" fmla="*/ 41 w 200"/>
                <a:gd name="T9" fmla="*/ 81 h 200"/>
                <a:gd name="T10" fmla="*/ 8 w 200"/>
                <a:gd name="T11" fmla="*/ 193 h 200"/>
                <a:gd name="T12" fmla="*/ 119 w 200"/>
                <a:gd name="T13" fmla="*/ 159 h 200"/>
                <a:gd name="T14" fmla="*/ 96 w 200"/>
                <a:gd name="T15" fmla="*/ 192 h 200"/>
                <a:gd name="T16" fmla="*/ 200 w 200"/>
                <a:gd name="T17" fmla="*/ 88 h 200"/>
                <a:gd name="T18" fmla="*/ 122 w 200"/>
                <a:gd name="T19" fmla="*/ 135 h 200"/>
                <a:gd name="T20" fmla="*/ 137 w 200"/>
                <a:gd name="T21" fmla="*/ 114 h 200"/>
                <a:gd name="T22" fmla="*/ 65 w 200"/>
                <a:gd name="T23" fmla="*/ 136 h 200"/>
                <a:gd name="T24" fmla="*/ 86 w 200"/>
                <a:gd name="T25" fmla="*/ 64 h 200"/>
                <a:gd name="T26" fmla="*/ 65 w 200"/>
                <a:gd name="T27" fmla="*/ 78 h 200"/>
                <a:gd name="T28" fmla="*/ 132 w 200"/>
                <a:gd name="T29" fmla="*/ 11 h 200"/>
                <a:gd name="T30" fmla="*/ 174 w 200"/>
                <a:gd name="T31" fmla="*/ 27 h 200"/>
                <a:gd name="T32" fmla="*/ 189 w 200"/>
                <a:gd name="T33" fmla="*/ 68 h 200"/>
                <a:gd name="T34" fmla="*/ 122 w 200"/>
                <a:gd name="T35" fmla="*/ 13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0" h="200">
                  <a:moveTo>
                    <a:pt x="200" y="88"/>
                  </a:moveTo>
                  <a:cubicBezTo>
                    <a:pt x="177" y="24"/>
                    <a:pt x="177" y="24"/>
                    <a:pt x="177" y="2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38" y="4"/>
                    <a:pt x="8" y="103"/>
                  </a:cubicBezTo>
                  <a:cubicBezTo>
                    <a:pt x="8" y="103"/>
                    <a:pt x="27" y="87"/>
                    <a:pt x="41" y="81"/>
                  </a:cubicBezTo>
                  <a:cubicBezTo>
                    <a:pt x="41" y="81"/>
                    <a:pt x="0" y="146"/>
                    <a:pt x="8" y="193"/>
                  </a:cubicBezTo>
                  <a:cubicBezTo>
                    <a:pt x="54" y="200"/>
                    <a:pt x="119" y="159"/>
                    <a:pt x="119" y="159"/>
                  </a:cubicBezTo>
                  <a:cubicBezTo>
                    <a:pt x="113" y="173"/>
                    <a:pt x="96" y="192"/>
                    <a:pt x="96" y="192"/>
                  </a:cubicBezTo>
                  <a:cubicBezTo>
                    <a:pt x="195" y="162"/>
                    <a:pt x="200" y="88"/>
                    <a:pt x="200" y="88"/>
                  </a:cubicBezTo>
                  <a:moveTo>
                    <a:pt x="122" y="135"/>
                  </a:moveTo>
                  <a:cubicBezTo>
                    <a:pt x="122" y="135"/>
                    <a:pt x="132" y="123"/>
                    <a:pt x="137" y="114"/>
                  </a:cubicBezTo>
                  <a:cubicBezTo>
                    <a:pt x="137" y="114"/>
                    <a:pt x="94" y="140"/>
                    <a:pt x="65" y="136"/>
                  </a:cubicBezTo>
                  <a:cubicBezTo>
                    <a:pt x="59" y="105"/>
                    <a:pt x="86" y="64"/>
                    <a:pt x="86" y="64"/>
                  </a:cubicBezTo>
                  <a:cubicBezTo>
                    <a:pt x="77" y="68"/>
                    <a:pt x="65" y="78"/>
                    <a:pt x="65" y="78"/>
                  </a:cubicBezTo>
                  <a:cubicBezTo>
                    <a:pt x="84" y="14"/>
                    <a:pt x="132" y="11"/>
                    <a:pt x="132" y="11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89" y="68"/>
                    <a:pt x="189" y="68"/>
                    <a:pt x="189" y="68"/>
                  </a:cubicBezTo>
                  <a:cubicBezTo>
                    <a:pt x="189" y="68"/>
                    <a:pt x="186" y="116"/>
                    <a:pt x="122" y="135"/>
                  </a:cubicBezTo>
                </a:path>
              </a:pathLst>
            </a:custGeom>
            <a:solidFill>
              <a:srgbClr val="FFD6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906">
              <a:extLst>
                <a:ext uri="{FF2B5EF4-FFF2-40B4-BE49-F238E27FC236}">
                  <a16:creationId xmlns:a16="http://schemas.microsoft.com/office/drawing/2014/main" id="{DD8DF627-9061-4A77-96A8-666F5E179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593" y="1948597"/>
              <a:ext cx="387450" cy="385971"/>
            </a:xfrm>
            <a:custGeom>
              <a:avLst/>
              <a:gdLst>
                <a:gd name="T0" fmla="*/ 115 w 130"/>
                <a:gd name="T1" fmla="*/ 16 h 129"/>
                <a:gd name="T2" fmla="*/ 73 w 130"/>
                <a:gd name="T3" fmla="*/ 0 h 129"/>
                <a:gd name="T4" fmla="*/ 6 w 130"/>
                <a:gd name="T5" fmla="*/ 67 h 129"/>
                <a:gd name="T6" fmla="*/ 27 w 130"/>
                <a:gd name="T7" fmla="*/ 53 h 129"/>
                <a:gd name="T8" fmla="*/ 6 w 130"/>
                <a:gd name="T9" fmla="*/ 125 h 129"/>
                <a:gd name="T10" fmla="*/ 78 w 130"/>
                <a:gd name="T11" fmla="*/ 103 h 129"/>
                <a:gd name="T12" fmla="*/ 63 w 130"/>
                <a:gd name="T13" fmla="*/ 124 h 129"/>
                <a:gd name="T14" fmla="*/ 130 w 130"/>
                <a:gd name="T15" fmla="*/ 57 h 129"/>
                <a:gd name="T16" fmla="*/ 115 w 130"/>
                <a:gd name="T17" fmla="*/ 1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0" h="129">
                  <a:moveTo>
                    <a:pt x="115" y="16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25" y="3"/>
                    <a:pt x="6" y="67"/>
                  </a:cubicBezTo>
                  <a:cubicBezTo>
                    <a:pt x="6" y="67"/>
                    <a:pt x="18" y="57"/>
                    <a:pt x="27" y="53"/>
                  </a:cubicBezTo>
                  <a:cubicBezTo>
                    <a:pt x="27" y="53"/>
                    <a:pt x="0" y="94"/>
                    <a:pt x="6" y="125"/>
                  </a:cubicBezTo>
                  <a:cubicBezTo>
                    <a:pt x="35" y="129"/>
                    <a:pt x="78" y="103"/>
                    <a:pt x="78" y="103"/>
                  </a:cubicBezTo>
                  <a:cubicBezTo>
                    <a:pt x="73" y="112"/>
                    <a:pt x="63" y="124"/>
                    <a:pt x="63" y="124"/>
                  </a:cubicBezTo>
                  <a:cubicBezTo>
                    <a:pt x="127" y="105"/>
                    <a:pt x="130" y="57"/>
                    <a:pt x="130" y="57"/>
                  </a:cubicBezTo>
                  <a:cubicBezTo>
                    <a:pt x="115" y="16"/>
                    <a:pt x="115" y="16"/>
                    <a:pt x="115" y="16"/>
                  </a:cubicBezTo>
                </a:path>
              </a:pathLst>
            </a:custGeom>
            <a:solidFill>
              <a:srgbClr val="FF5B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907">
              <a:extLst>
                <a:ext uri="{FF2B5EF4-FFF2-40B4-BE49-F238E27FC236}">
                  <a16:creationId xmlns:a16="http://schemas.microsoft.com/office/drawing/2014/main" id="{B7AA5A3B-D361-49FB-8526-F98356FAA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3831" y="1710508"/>
              <a:ext cx="489489" cy="653637"/>
            </a:xfrm>
            <a:custGeom>
              <a:avLst/>
              <a:gdLst>
                <a:gd name="T0" fmla="*/ 164 w 164"/>
                <a:gd name="T1" fmla="*/ 55 h 219"/>
                <a:gd name="T2" fmla="*/ 133 w 164"/>
                <a:gd name="T3" fmla="*/ 180 h 219"/>
                <a:gd name="T4" fmla="*/ 0 w 164"/>
                <a:gd name="T5" fmla="*/ 219 h 219"/>
                <a:gd name="T6" fmla="*/ 27 w 164"/>
                <a:gd name="T7" fmla="*/ 82 h 219"/>
                <a:gd name="T8" fmla="*/ 109 w 164"/>
                <a:gd name="T9" fmla="*/ 0 h 219"/>
                <a:gd name="T10" fmla="*/ 164 w 164"/>
                <a:gd name="T11" fmla="*/ 5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219">
                  <a:moveTo>
                    <a:pt x="164" y="55"/>
                  </a:moveTo>
                  <a:cubicBezTo>
                    <a:pt x="133" y="180"/>
                    <a:pt x="133" y="180"/>
                    <a:pt x="133" y="180"/>
                  </a:cubicBezTo>
                  <a:cubicBezTo>
                    <a:pt x="0" y="219"/>
                    <a:pt x="0" y="219"/>
                    <a:pt x="0" y="219"/>
                  </a:cubicBezTo>
                  <a:cubicBezTo>
                    <a:pt x="0" y="219"/>
                    <a:pt x="93" y="147"/>
                    <a:pt x="27" y="82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64" y="55"/>
                    <a:pt x="164" y="55"/>
                    <a:pt x="164" y="55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908">
              <a:extLst>
                <a:ext uri="{FF2B5EF4-FFF2-40B4-BE49-F238E27FC236}">
                  <a16:creationId xmlns:a16="http://schemas.microsoft.com/office/drawing/2014/main" id="{4C6AEC59-44DF-4A0C-B382-A4A199C5E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101" y="1432490"/>
              <a:ext cx="652158" cy="492446"/>
            </a:xfrm>
            <a:custGeom>
              <a:avLst/>
              <a:gdLst>
                <a:gd name="T0" fmla="*/ 164 w 219"/>
                <a:gd name="T1" fmla="*/ 0 h 165"/>
                <a:gd name="T2" fmla="*/ 38 w 219"/>
                <a:gd name="T3" fmla="*/ 32 h 165"/>
                <a:gd name="T4" fmla="*/ 0 w 219"/>
                <a:gd name="T5" fmla="*/ 165 h 165"/>
                <a:gd name="T6" fmla="*/ 137 w 219"/>
                <a:gd name="T7" fmla="*/ 137 h 165"/>
                <a:gd name="T8" fmla="*/ 219 w 219"/>
                <a:gd name="T9" fmla="*/ 55 h 165"/>
                <a:gd name="T10" fmla="*/ 164 w 219"/>
                <a:gd name="T11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9" h="165">
                  <a:moveTo>
                    <a:pt x="164" y="0"/>
                  </a:moveTo>
                  <a:cubicBezTo>
                    <a:pt x="38" y="32"/>
                    <a:pt x="38" y="32"/>
                    <a:pt x="38" y="32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5"/>
                    <a:pt x="71" y="72"/>
                    <a:pt x="137" y="137"/>
                  </a:cubicBezTo>
                  <a:cubicBezTo>
                    <a:pt x="219" y="55"/>
                    <a:pt x="219" y="55"/>
                    <a:pt x="219" y="55"/>
                  </a:cubicBezTo>
                  <a:lnTo>
                    <a:pt x="164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909">
              <a:extLst>
                <a:ext uri="{FF2B5EF4-FFF2-40B4-BE49-F238E27FC236}">
                  <a16:creationId xmlns:a16="http://schemas.microsoft.com/office/drawing/2014/main" id="{FF78E8EE-E1AB-4F17-BBED-C99C5964F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1641" y="907510"/>
              <a:ext cx="832574" cy="832574"/>
            </a:xfrm>
            <a:custGeom>
              <a:avLst/>
              <a:gdLst>
                <a:gd name="T0" fmla="*/ 61 w 279"/>
                <a:gd name="T1" fmla="*/ 221 h 279"/>
                <a:gd name="T2" fmla="*/ 148 w 279"/>
                <a:gd name="T3" fmla="*/ 279 h 279"/>
                <a:gd name="T4" fmla="*/ 279 w 279"/>
                <a:gd name="T5" fmla="*/ 78 h 279"/>
                <a:gd name="T6" fmla="*/ 233 w 279"/>
                <a:gd name="T7" fmla="*/ 48 h 279"/>
                <a:gd name="T8" fmla="*/ 204 w 279"/>
                <a:gd name="T9" fmla="*/ 7 h 279"/>
                <a:gd name="T10" fmla="*/ 202 w 279"/>
                <a:gd name="T11" fmla="*/ 0 h 279"/>
                <a:gd name="T12" fmla="*/ 0 w 279"/>
                <a:gd name="T13" fmla="*/ 131 h 279"/>
                <a:gd name="T14" fmla="*/ 8 w 279"/>
                <a:gd name="T15" fmla="*/ 147 h 279"/>
                <a:gd name="T16" fmla="*/ 61 w 279"/>
                <a:gd name="T17" fmla="*/ 22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9" h="279">
                  <a:moveTo>
                    <a:pt x="61" y="221"/>
                  </a:moveTo>
                  <a:cubicBezTo>
                    <a:pt x="83" y="243"/>
                    <a:pt x="111" y="264"/>
                    <a:pt x="148" y="279"/>
                  </a:cubicBezTo>
                  <a:cubicBezTo>
                    <a:pt x="207" y="212"/>
                    <a:pt x="249" y="138"/>
                    <a:pt x="279" y="78"/>
                  </a:cubicBezTo>
                  <a:cubicBezTo>
                    <a:pt x="259" y="70"/>
                    <a:pt x="244" y="60"/>
                    <a:pt x="233" y="48"/>
                  </a:cubicBezTo>
                  <a:cubicBezTo>
                    <a:pt x="218" y="34"/>
                    <a:pt x="210" y="19"/>
                    <a:pt x="204" y="7"/>
                  </a:cubicBezTo>
                  <a:cubicBezTo>
                    <a:pt x="203" y="4"/>
                    <a:pt x="202" y="2"/>
                    <a:pt x="202" y="0"/>
                  </a:cubicBezTo>
                  <a:cubicBezTo>
                    <a:pt x="141" y="29"/>
                    <a:pt x="67" y="72"/>
                    <a:pt x="0" y="131"/>
                  </a:cubicBezTo>
                  <a:cubicBezTo>
                    <a:pt x="2" y="136"/>
                    <a:pt x="5" y="141"/>
                    <a:pt x="8" y="147"/>
                  </a:cubicBezTo>
                  <a:cubicBezTo>
                    <a:pt x="18" y="168"/>
                    <a:pt x="35" y="196"/>
                    <a:pt x="61" y="221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10">
              <a:extLst>
                <a:ext uri="{FF2B5EF4-FFF2-40B4-BE49-F238E27FC236}">
                  <a16:creationId xmlns:a16="http://schemas.microsoft.com/office/drawing/2014/main" id="{7CD7DAAE-8B4D-470B-8A42-145FA0484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4575" y="755192"/>
              <a:ext cx="351959" cy="351959"/>
            </a:xfrm>
            <a:custGeom>
              <a:avLst/>
              <a:gdLst>
                <a:gd name="T0" fmla="*/ 29 w 118"/>
                <a:gd name="T1" fmla="*/ 91 h 118"/>
                <a:gd name="T2" fmla="*/ 72 w 118"/>
                <a:gd name="T3" fmla="*/ 118 h 118"/>
                <a:gd name="T4" fmla="*/ 118 w 118"/>
                <a:gd name="T5" fmla="*/ 0 h 118"/>
                <a:gd name="T6" fmla="*/ 0 w 118"/>
                <a:gd name="T7" fmla="*/ 46 h 118"/>
                <a:gd name="T8" fmla="*/ 3 w 118"/>
                <a:gd name="T9" fmla="*/ 53 h 118"/>
                <a:gd name="T10" fmla="*/ 29 w 118"/>
                <a:gd name="T11" fmla="*/ 91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118">
                  <a:moveTo>
                    <a:pt x="29" y="91"/>
                  </a:moveTo>
                  <a:cubicBezTo>
                    <a:pt x="40" y="102"/>
                    <a:pt x="54" y="111"/>
                    <a:pt x="72" y="118"/>
                  </a:cubicBezTo>
                  <a:cubicBezTo>
                    <a:pt x="104" y="50"/>
                    <a:pt x="118" y="0"/>
                    <a:pt x="118" y="0"/>
                  </a:cubicBezTo>
                  <a:cubicBezTo>
                    <a:pt x="118" y="0"/>
                    <a:pt x="69" y="14"/>
                    <a:pt x="0" y="46"/>
                  </a:cubicBezTo>
                  <a:cubicBezTo>
                    <a:pt x="1" y="48"/>
                    <a:pt x="2" y="50"/>
                    <a:pt x="3" y="53"/>
                  </a:cubicBezTo>
                  <a:cubicBezTo>
                    <a:pt x="8" y="64"/>
                    <a:pt x="16" y="78"/>
                    <a:pt x="29" y="91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911">
              <a:extLst>
                <a:ext uri="{FF2B5EF4-FFF2-40B4-BE49-F238E27FC236}">
                  <a16:creationId xmlns:a16="http://schemas.microsoft.com/office/drawing/2014/main" id="{B0077C39-2D55-498B-B383-D6A0B7E58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6165" y="1321579"/>
              <a:ext cx="869545" cy="875460"/>
            </a:xfrm>
            <a:custGeom>
              <a:avLst/>
              <a:gdLst>
                <a:gd name="T0" fmla="*/ 206 w 292"/>
                <a:gd name="T1" fmla="*/ 91 h 293"/>
                <a:gd name="T2" fmla="*/ 150 w 292"/>
                <a:gd name="T3" fmla="*/ 14 h 293"/>
                <a:gd name="T4" fmla="*/ 144 w 292"/>
                <a:gd name="T5" fmla="*/ 0 h 293"/>
                <a:gd name="T6" fmla="*/ 0 w 292"/>
                <a:gd name="T7" fmla="*/ 197 h 293"/>
                <a:gd name="T8" fmla="*/ 37 w 292"/>
                <a:gd name="T9" fmla="*/ 253 h 293"/>
                <a:gd name="T10" fmla="*/ 96 w 292"/>
                <a:gd name="T11" fmla="*/ 293 h 293"/>
                <a:gd name="T12" fmla="*/ 292 w 292"/>
                <a:gd name="T13" fmla="*/ 149 h 293"/>
                <a:gd name="T14" fmla="*/ 206 w 292"/>
                <a:gd name="T15" fmla="*/ 91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293">
                  <a:moveTo>
                    <a:pt x="206" y="91"/>
                  </a:moveTo>
                  <a:cubicBezTo>
                    <a:pt x="179" y="64"/>
                    <a:pt x="161" y="35"/>
                    <a:pt x="150" y="14"/>
                  </a:cubicBezTo>
                  <a:cubicBezTo>
                    <a:pt x="148" y="9"/>
                    <a:pt x="146" y="4"/>
                    <a:pt x="144" y="0"/>
                  </a:cubicBezTo>
                  <a:cubicBezTo>
                    <a:pt x="86" y="53"/>
                    <a:pt x="34" y="118"/>
                    <a:pt x="0" y="197"/>
                  </a:cubicBezTo>
                  <a:cubicBezTo>
                    <a:pt x="0" y="197"/>
                    <a:pt x="11" y="228"/>
                    <a:pt x="37" y="253"/>
                  </a:cubicBezTo>
                  <a:cubicBezTo>
                    <a:pt x="63" y="279"/>
                    <a:pt x="96" y="293"/>
                    <a:pt x="96" y="293"/>
                  </a:cubicBezTo>
                  <a:cubicBezTo>
                    <a:pt x="175" y="260"/>
                    <a:pt x="240" y="207"/>
                    <a:pt x="292" y="149"/>
                  </a:cubicBezTo>
                  <a:cubicBezTo>
                    <a:pt x="256" y="134"/>
                    <a:pt x="228" y="113"/>
                    <a:pt x="206" y="91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912">
              <a:extLst>
                <a:ext uri="{FF2B5EF4-FFF2-40B4-BE49-F238E27FC236}">
                  <a16:creationId xmlns:a16="http://schemas.microsoft.com/office/drawing/2014/main" id="{0D07594B-C6F4-4029-9A53-7BD04BD1D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4998" y="892722"/>
              <a:ext cx="244005" cy="246963"/>
            </a:xfrm>
            <a:custGeom>
              <a:avLst/>
              <a:gdLst>
                <a:gd name="T0" fmla="*/ 31 w 82"/>
                <a:gd name="T1" fmla="*/ 53 h 83"/>
                <a:gd name="T2" fmla="*/ 77 w 82"/>
                <a:gd name="T3" fmla="*/ 83 h 83"/>
                <a:gd name="T4" fmla="*/ 82 w 82"/>
                <a:gd name="T5" fmla="*/ 72 h 83"/>
                <a:gd name="T6" fmla="*/ 39 w 82"/>
                <a:gd name="T7" fmla="*/ 45 h 83"/>
                <a:gd name="T8" fmla="*/ 13 w 82"/>
                <a:gd name="T9" fmla="*/ 7 h 83"/>
                <a:gd name="T10" fmla="*/ 10 w 82"/>
                <a:gd name="T11" fmla="*/ 0 h 83"/>
                <a:gd name="T12" fmla="*/ 0 w 82"/>
                <a:gd name="T13" fmla="*/ 5 h 83"/>
                <a:gd name="T14" fmla="*/ 2 w 82"/>
                <a:gd name="T15" fmla="*/ 12 h 83"/>
                <a:gd name="T16" fmla="*/ 31 w 82"/>
                <a:gd name="T17" fmla="*/ 5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83">
                  <a:moveTo>
                    <a:pt x="31" y="53"/>
                  </a:moveTo>
                  <a:cubicBezTo>
                    <a:pt x="42" y="65"/>
                    <a:pt x="57" y="75"/>
                    <a:pt x="77" y="83"/>
                  </a:cubicBezTo>
                  <a:cubicBezTo>
                    <a:pt x="78" y="79"/>
                    <a:pt x="80" y="76"/>
                    <a:pt x="82" y="72"/>
                  </a:cubicBezTo>
                  <a:cubicBezTo>
                    <a:pt x="64" y="65"/>
                    <a:pt x="50" y="56"/>
                    <a:pt x="39" y="45"/>
                  </a:cubicBezTo>
                  <a:cubicBezTo>
                    <a:pt x="26" y="32"/>
                    <a:pt x="18" y="18"/>
                    <a:pt x="13" y="7"/>
                  </a:cubicBezTo>
                  <a:cubicBezTo>
                    <a:pt x="12" y="4"/>
                    <a:pt x="11" y="2"/>
                    <a:pt x="10" y="0"/>
                  </a:cubicBezTo>
                  <a:cubicBezTo>
                    <a:pt x="7" y="2"/>
                    <a:pt x="3" y="3"/>
                    <a:pt x="0" y="5"/>
                  </a:cubicBezTo>
                  <a:cubicBezTo>
                    <a:pt x="0" y="7"/>
                    <a:pt x="1" y="9"/>
                    <a:pt x="2" y="12"/>
                  </a:cubicBezTo>
                  <a:cubicBezTo>
                    <a:pt x="8" y="24"/>
                    <a:pt x="16" y="39"/>
                    <a:pt x="31" y="5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913">
              <a:extLst>
                <a:ext uri="{FF2B5EF4-FFF2-40B4-BE49-F238E27FC236}">
                  <a16:creationId xmlns:a16="http://schemas.microsoft.com/office/drawing/2014/main" id="{0C13A7F9-745A-4485-BDEE-2E08DA695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5022" y="1297918"/>
              <a:ext cx="468785" cy="468785"/>
            </a:xfrm>
            <a:custGeom>
              <a:avLst/>
              <a:gdLst>
                <a:gd name="T0" fmla="*/ 62 w 157"/>
                <a:gd name="T1" fmla="*/ 99 h 157"/>
                <a:gd name="T2" fmla="*/ 148 w 157"/>
                <a:gd name="T3" fmla="*/ 157 h 157"/>
                <a:gd name="T4" fmla="*/ 157 w 157"/>
                <a:gd name="T5" fmla="*/ 148 h 157"/>
                <a:gd name="T6" fmla="*/ 70 w 157"/>
                <a:gd name="T7" fmla="*/ 90 h 157"/>
                <a:gd name="T8" fmla="*/ 17 w 157"/>
                <a:gd name="T9" fmla="*/ 16 h 157"/>
                <a:gd name="T10" fmla="*/ 9 w 157"/>
                <a:gd name="T11" fmla="*/ 0 h 157"/>
                <a:gd name="T12" fmla="*/ 0 w 157"/>
                <a:gd name="T13" fmla="*/ 8 h 157"/>
                <a:gd name="T14" fmla="*/ 6 w 157"/>
                <a:gd name="T15" fmla="*/ 22 h 157"/>
                <a:gd name="T16" fmla="*/ 62 w 157"/>
                <a:gd name="T17" fmla="*/ 9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57">
                  <a:moveTo>
                    <a:pt x="62" y="99"/>
                  </a:moveTo>
                  <a:cubicBezTo>
                    <a:pt x="84" y="121"/>
                    <a:pt x="112" y="142"/>
                    <a:pt x="148" y="157"/>
                  </a:cubicBezTo>
                  <a:cubicBezTo>
                    <a:pt x="151" y="154"/>
                    <a:pt x="154" y="151"/>
                    <a:pt x="157" y="148"/>
                  </a:cubicBezTo>
                  <a:cubicBezTo>
                    <a:pt x="120" y="133"/>
                    <a:pt x="92" y="112"/>
                    <a:pt x="70" y="90"/>
                  </a:cubicBezTo>
                  <a:cubicBezTo>
                    <a:pt x="44" y="65"/>
                    <a:pt x="27" y="37"/>
                    <a:pt x="17" y="16"/>
                  </a:cubicBezTo>
                  <a:cubicBezTo>
                    <a:pt x="14" y="10"/>
                    <a:pt x="11" y="5"/>
                    <a:pt x="9" y="0"/>
                  </a:cubicBezTo>
                  <a:cubicBezTo>
                    <a:pt x="6" y="3"/>
                    <a:pt x="3" y="6"/>
                    <a:pt x="0" y="8"/>
                  </a:cubicBezTo>
                  <a:cubicBezTo>
                    <a:pt x="2" y="12"/>
                    <a:pt x="4" y="17"/>
                    <a:pt x="6" y="22"/>
                  </a:cubicBezTo>
                  <a:cubicBezTo>
                    <a:pt x="17" y="43"/>
                    <a:pt x="35" y="72"/>
                    <a:pt x="62" y="9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914">
              <a:extLst>
                <a:ext uri="{FF2B5EF4-FFF2-40B4-BE49-F238E27FC236}">
                  <a16:creationId xmlns:a16="http://schemas.microsoft.com/office/drawing/2014/main" id="{74D9DBF0-8832-461B-9A06-D1D75454F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3487" y="1608469"/>
              <a:ext cx="533853" cy="535332"/>
            </a:xfrm>
            <a:custGeom>
              <a:avLst/>
              <a:gdLst>
                <a:gd name="T0" fmla="*/ 302 w 361"/>
                <a:gd name="T1" fmla="*/ 0 h 362"/>
                <a:gd name="T2" fmla="*/ 361 w 361"/>
                <a:gd name="T3" fmla="*/ 61 h 362"/>
                <a:gd name="T4" fmla="*/ 0 w 361"/>
                <a:gd name="T5" fmla="*/ 362 h 362"/>
                <a:gd name="T6" fmla="*/ 302 w 361"/>
                <a:gd name="T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1" h="362">
                  <a:moveTo>
                    <a:pt x="302" y="0"/>
                  </a:moveTo>
                  <a:lnTo>
                    <a:pt x="361" y="61"/>
                  </a:lnTo>
                  <a:lnTo>
                    <a:pt x="0" y="362"/>
                  </a:lnTo>
                  <a:lnTo>
                    <a:pt x="302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915">
              <a:extLst>
                <a:ext uri="{FF2B5EF4-FFF2-40B4-BE49-F238E27FC236}">
                  <a16:creationId xmlns:a16="http://schemas.microsoft.com/office/drawing/2014/main" id="{F0389026-5BBD-44B3-9549-DD8F7C93B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9283" y="614704"/>
              <a:ext cx="226259" cy="226259"/>
            </a:xfrm>
            <a:custGeom>
              <a:avLst/>
              <a:gdLst>
                <a:gd name="T0" fmla="*/ 153 w 153"/>
                <a:gd name="T1" fmla="*/ 0 h 153"/>
                <a:gd name="T2" fmla="*/ 10 w 153"/>
                <a:gd name="T3" fmla="*/ 111 h 153"/>
                <a:gd name="T4" fmla="*/ 0 w 153"/>
                <a:gd name="T5" fmla="*/ 153 h 153"/>
                <a:gd name="T6" fmla="*/ 43 w 153"/>
                <a:gd name="T7" fmla="*/ 145 h 153"/>
                <a:gd name="T8" fmla="*/ 153 w 153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0"/>
                  </a:moveTo>
                  <a:lnTo>
                    <a:pt x="10" y="111"/>
                  </a:lnTo>
                  <a:lnTo>
                    <a:pt x="0" y="153"/>
                  </a:lnTo>
                  <a:lnTo>
                    <a:pt x="43" y="145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16">
              <a:extLst>
                <a:ext uri="{FF2B5EF4-FFF2-40B4-BE49-F238E27FC236}">
                  <a16:creationId xmlns:a16="http://schemas.microsoft.com/office/drawing/2014/main" id="{461F14AA-3DC9-4DBD-91BA-65A19D419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9283" y="614704"/>
              <a:ext cx="226259" cy="226259"/>
            </a:xfrm>
            <a:custGeom>
              <a:avLst/>
              <a:gdLst>
                <a:gd name="T0" fmla="*/ 153 w 153"/>
                <a:gd name="T1" fmla="*/ 0 h 153"/>
                <a:gd name="T2" fmla="*/ 10 w 153"/>
                <a:gd name="T3" fmla="*/ 111 h 153"/>
                <a:gd name="T4" fmla="*/ 0 w 153"/>
                <a:gd name="T5" fmla="*/ 153 h 153"/>
                <a:gd name="T6" fmla="*/ 43 w 153"/>
                <a:gd name="T7" fmla="*/ 145 h 153"/>
                <a:gd name="T8" fmla="*/ 153 w 153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0"/>
                  </a:moveTo>
                  <a:lnTo>
                    <a:pt x="10" y="111"/>
                  </a:lnTo>
                  <a:lnTo>
                    <a:pt x="0" y="153"/>
                  </a:lnTo>
                  <a:lnTo>
                    <a:pt x="43" y="145"/>
                  </a:lnTo>
                  <a:lnTo>
                    <a:pt x="1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917">
              <a:extLst>
                <a:ext uri="{FF2B5EF4-FFF2-40B4-BE49-F238E27FC236}">
                  <a16:creationId xmlns:a16="http://schemas.microsoft.com/office/drawing/2014/main" id="{C5E9B9D9-ACD5-4422-91DB-3DAE723E8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1769" y="1113065"/>
              <a:ext cx="286891" cy="286891"/>
            </a:xfrm>
            <a:custGeom>
              <a:avLst/>
              <a:gdLst>
                <a:gd name="T0" fmla="*/ 79 w 96"/>
                <a:gd name="T1" fmla="*/ 79 h 96"/>
                <a:gd name="T2" fmla="*/ 17 w 96"/>
                <a:gd name="T3" fmla="*/ 79 h 96"/>
                <a:gd name="T4" fmla="*/ 17 w 96"/>
                <a:gd name="T5" fmla="*/ 17 h 96"/>
                <a:gd name="T6" fmla="*/ 79 w 96"/>
                <a:gd name="T7" fmla="*/ 17 h 96"/>
                <a:gd name="T8" fmla="*/ 79 w 96"/>
                <a:gd name="T9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6">
                  <a:moveTo>
                    <a:pt x="79" y="79"/>
                  </a:moveTo>
                  <a:cubicBezTo>
                    <a:pt x="62" y="96"/>
                    <a:pt x="34" y="96"/>
                    <a:pt x="17" y="79"/>
                  </a:cubicBezTo>
                  <a:cubicBezTo>
                    <a:pt x="0" y="62"/>
                    <a:pt x="0" y="34"/>
                    <a:pt x="17" y="17"/>
                  </a:cubicBezTo>
                  <a:cubicBezTo>
                    <a:pt x="34" y="0"/>
                    <a:pt x="62" y="0"/>
                    <a:pt x="79" y="17"/>
                  </a:cubicBezTo>
                  <a:cubicBezTo>
                    <a:pt x="96" y="34"/>
                    <a:pt x="96" y="62"/>
                    <a:pt x="79" y="79"/>
                  </a:cubicBezTo>
                </a:path>
              </a:pathLst>
            </a:custGeom>
            <a:solidFill>
              <a:schemeClr val="bg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918">
              <a:extLst>
                <a:ext uri="{FF2B5EF4-FFF2-40B4-BE49-F238E27FC236}">
                  <a16:creationId xmlns:a16="http://schemas.microsoft.com/office/drawing/2014/main" id="{07F202BA-8FAB-4648-809E-ED9F80EFBC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41769" y="1113065"/>
              <a:ext cx="286891" cy="286891"/>
            </a:xfrm>
            <a:custGeom>
              <a:avLst/>
              <a:gdLst>
                <a:gd name="T0" fmla="*/ 48 w 96"/>
                <a:gd name="T1" fmla="*/ 96 h 96"/>
                <a:gd name="T2" fmla="*/ 14 w 96"/>
                <a:gd name="T3" fmla="*/ 82 h 96"/>
                <a:gd name="T4" fmla="*/ 0 w 96"/>
                <a:gd name="T5" fmla="*/ 48 h 96"/>
                <a:gd name="T6" fmla="*/ 14 w 96"/>
                <a:gd name="T7" fmla="*/ 14 h 96"/>
                <a:gd name="T8" fmla="*/ 48 w 96"/>
                <a:gd name="T9" fmla="*/ 0 h 96"/>
                <a:gd name="T10" fmla="*/ 82 w 96"/>
                <a:gd name="T11" fmla="*/ 14 h 96"/>
                <a:gd name="T12" fmla="*/ 96 w 96"/>
                <a:gd name="T13" fmla="*/ 48 h 96"/>
                <a:gd name="T14" fmla="*/ 82 w 96"/>
                <a:gd name="T15" fmla="*/ 82 h 96"/>
                <a:gd name="T16" fmla="*/ 48 w 96"/>
                <a:gd name="T17" fmla="*/ 96 h 96"/>
                <a:gd name="T18" fmla="*/ 48 w 96"/>
                <a:gd name="T19" fmla="*/ 10 h 96"/>
                <a:gd name="T20" fmla="*/ 21 w 96"/>
                <a:gd name="T21" fmla="*/ 21 h 96"/>
                <a:gd name="T22" fmla="*/ 10 w 96"/>
                <a:gd name="T23" fmla="*/ 48 h 96"/>
                <a:gd name="T24" fmla="*/ 21 w 96"/>
                <a:gd name="T25" fmla="*/ 75 h 96"/>
                <a:gd name="T26" fmla="*/ 48 w 96"/>
                <a:gd name="T27" fmla="*/ 86 h 96"/>
                <a:gd name="T28" fmla="*/ 75 w 96"/>
                <a:gd name="T29" fmla="*/ 75 h 96"/>
                <a:gd name="T30" fmla="*/ 86 w 96"/>
                <a:gd name="T31" fmla="*/ 48 h 96"/>
                <a:gd name="T32" fmla="*/ 75 w 96"/>
                <a:gd name="T33" fmla="*/ 21 h 96"/>
                <a:gd name="T34" fmla="*/ 48 w 96"/>
                <a:gd name="T35" fmla="*/ 1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35" y="96"/>
                    <a:pt x="23" y="91"/>
                    <a:pt x="14" y="82"/>
                  </a:cubicBezTo>
                  <a:cubicBezTo>
                    <a:pt x="5" y="73"/>
                    <a:pt x="0" y="61"/>
                    <a:pt x="0" y="48"/>
                  </a:cubicBezTo>
                  <a:cubicBezTo>
                    <a:pt x="0" y="35"/>
                    <a:pt x="5" y="23"/>
                    <a:pt x="14" y="14"/>
                  </a:cubicBezTo>
                  <a:cubicBezTo>
                    <a:pt x="23" y="5"/>
                    <a:pt x="35" y="0"/>
                    <a:pt x="48" y="0"/>
                  </a:cubicBezTo>
                  <a:cubicBezTo>
                    <a:pt x="61" y="0"/>
                    <a:pt x="73" y="5"/>
                    <a:pt x="82" y="14"/>
                  </a:cubicBezTo>
                  <a:cubicBezTo>
                    <a:pt x="91" y="23"/>
                    <a:pt x="96" y="35"/>
                    <a:pt x="96" y="48"/>
                  </a:cubicBezTo>
                  <a:cubicBezTo>
                    <a:pt x="96" y="61"/>
                    <a:pt x="91" y="73"/>
                    <a:pt x="82" y="82"/>
                  </a:cubicBezTo>
                  <a:cubicBezTo>
                    <a:pt x="73" y="91"/>
                    <a:pt x="61" y="96"/>
                    <a:pt x="48" y="96"/>
                  </a:cubicBezTo>
                  <a:moveTo>
                    <a:pt x="48" y="10"/>
                  </a:moveTo>
                  <a:cubicBezTo>
                    <a:pt x="38" y="10"/>
                    <a:pt x="28" y="14"/>
                    <a:pt x="21" y="21"/>
                  </a:cubicBezTo>
                  <a:cubicBezTo>
                    <a:pt x="14" y="28"/>
                    <a:pt x="10" y="38"/>
                    <a:pt x="10" y="48"/>
                  </a:cubicBezTo>
                  <a:cubicBezTo>
                    <a:pt x="10" y="58"/>
                    <a:pt x="14" y="68"/>
                    <a:pt x="21" y="75"/>
                  </a:cubicBezTo>
                  <a:cubicBezTo>
                    <a:pt x="28" y="82"/>
                    <a:pt x="38" y="86"/>
                    <a:pt x="48" y="86"/>
                  </a:cubicBezTo>
                  <a:cubicBezTo>
                    <a:pt x="58" y="86"/>
                    <a:pt x="68" y="82"/>
                    <a:pt x="75" y="75"/>
                  </a:cubicBezTo>
                  <a:cubicBezTo>
                    <a:pt x="82" y="68"/>
                    <a:pt x="86" y="58"/>
                    <a:pt x="86" y="48"/>
                  </a:cubicBezTo>
                  <a:cubicBezTo>
                    <a:pt x="86" y="38"/>
                    <a:pt x="82" y="28"/>
                    <a:pt x="75" y="21"/>
                  </a:cubicBezTo>
                  <a:cubicBezTo>
                    <a:pt x="68" y="14"/>
                    <a:pt x="58" y="10"/>
                    <a:pt x="48" y="10"/>
                  </a:cubicBezTo>
                </a:path>
              </a:pathLst>
            </a:custGeom>
            <a:solidFill>
              <a:srgbClr val="1639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919">
              <a:extLst>
                <a:ext uri="{FF2B5EF4-FFF2-40B4-BE49-F238E27FC236}">
                  <a16:creationId xmlns:a16="http://schemas.microsoft.com/office/drawing/2014/main" id="{5C3C74E7-50F0-4877-BECA-3DD7924EA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6533" y="755192"/>
              <a:ext cx="0" cy="295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64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920">
              <a:extLst>
                <a:ext uri="{FF2B5EF4-FFF2-40B4-BE49-F238E27FC236}">
                  <a16:creationId xmlns:a16="http://schemas.microsoft.com/office/drawing/2014/main" id="{E69CFA50-73EE-45D8-91FD-FF36C119A5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8619" y="1830292"/>
              <a:ext cx="530895" cy="369704"/>
            </a:xfrm>
            <a:custGeom>
              <a:avLst/>
              <a:gdLst>
                <a:gd name="T0" fmla="*/ 45 w 178"/>
                <a:gd name="T1" fmla="*/ 102 h 124"/>
                <a:gd name="T2" fmla="*/ 1 w 178"/>
                <a:gd name="T3" fmla="*/ 123 h 124"/>
                <a:gd name="T4" fmla="*/ 0 w 178"/>
                <a:gd name="T5" fmla="*/ 123 h 124"/>
                <a:gd name="T6" fmla="*/ 0 w 178"/>
                <a:gd name="T7" fmla="*/ 123 h 124"/>
                <a:gd name="T8" fmla="*/ 1 w 178"/>
                <a:gd name="T9" fmla="*/ 124 h 124"/>
                <a:gd name="T10" fmla="*/ 45 w 178"/>
                <a:gd name="T11" fmla="*/ 102 h 124"/>
                <a:gd name="T12" fmla="*/ 45 w 178"/>
                <a:gd name="T13" fmla="*/ 102 h 124"/>
                <a:gd name="T14" fmla="*/ 178 w 178"/>
                <a:gd name="T15" fmla="*/ 0 h 124"/>
                <a:gd name="T16" fmla="*/ 158 w 178"/>
                <a:gd name="T17" fmla="*/ 19 h 124"/>
                <a:gd name="T18" fmla="*/ 158 w 178"/>
                <a:gd name="T19" fmla="*/ 19 h 124"/>
                <a:gd name="T20" fmla="*/ 178 w 178"/>
                <a:gd name="T2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8" h="124">
                  <a:moveTo>
                    <a:pt x="45" y="102"/>
                  </a:moveTo>
                  <a:cubicBezTo>
                    <a:pt x="31" y="110"/>
                    <a:pt x="16" y="117"/>
                    <a:pt x="1" y="123"/>
                  </a:cubicBezTo>
                  <a:cubicBezTo>
                    <a:pt x="1" y="123"/>
                    <a:pt x="1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1" y="124"/>
                    <a:pt x="1" y="124"/>
                    <a:pt x="1" y="124"/>
                  </a:cubicBezTo>
                  <a:cubicBezTo>
                    <a:pt x="16" y="117"/>
                    <a:pt x="31" y="110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moveTo>
                    <a:pt x="178" y="0"/>
                  </a:moveTo>
                  <a:cubicBezTo>
                    <a:pt x="172" y="6"/>
                    <a:pt x="165" y="13"/>
                    <a:pt x="158" y="19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65" y="13"/>
                    <a:pt x="172" y="6"/>
                    <a:pt x="178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921">
              <a:extLst>
                <a:ext uri="{FF2B5EF4-FFF2-40B4-BE49-F238E27FC236}">
                  <a16:creationId xmlns:a16="http://schemas.microsoft.com/office/drawing/2014/main" id="{4067450A-F65B-4431-8D52-FA99A196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3831" y="2191123"/>
              <a:ext cx="14788" cy="5915"/>
            </a:xfrm>
            <a:custGeom>
              <a:avLst/>
              <a:gdLst>
                <a:gd name="T0" fmla="*/ 0 w 5"/>
                <a:gd name="T1" fmla="*/ 0 h 2"/>
                <a:gd name="T2" fmla="*/ 5 w 5"/>
                <a:gd name="T3" fmla="*/ 2 h 2"/>
                <a:gd name="T4" fmla="*/ 5 w 5"/>
                <a:gd name="T5" fmla="*/ 2 h 2"/>
                <a:gd name="T6" fmla="*/ 0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3" y="1"/>
                    <a:pt x="0" y="0"/>
                  </a:cubicBezTo>
                </a:path>
              </a:pathLst>
            </a:custGeom>
            <a:solidFill>
              <a:srgbClr val="E5C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922">
              <a:extLst>
                <a:ext uri="{FF2B5EF4-FFF2-40B4-BE49-F238E27FC236}">
                  <a16:creationId xmlns:a16="http://schemas.microsoft.com/office/drawing/2014/main" id="{ADCB415B-598C-4AC7-B318-6E58EC32C7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91" y="1886487"/>
              <a:ext cx="337170" cy="246963"/>
            </a:xfrm>
            <a:custGeom>
              <a:avLst/>
              <a:gdLst>
                <a:gd name="T0" fmla="*/ 113 w 113"/>
                <a:gd name="T1" fmla="*/ 0 h 83"/>
                <a:gd name="T2" fmla="*/ 0 w 113"/>
                <a:gd name="T3" fmla="*/ 83 h 83"/>
                <a:gd name="T4" fmla="*/ 0 w 113"/>
                <a:gd name="T5" fmla="*/ 83 h 83"/>
                <a:gd name="T6" fmla="*/ 113 w 113"/>
                <a:gd name="T7" fmla="*/ 0 h 83"/>
                <a:gd name="T8" fmla="*/ 113 w 113"/>
                <a:gd name="T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83">
                  <a:moveTo>
                    <a:pt x="113" y="0"/>
                  </a:moveTo>
                  <a:cubicBezTo>
                    <a:pt x="80" y="31"/>
                    <a:pt x="42" y="60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42" y="60"/>
                    <a:pt x="80" y="31"/>
                    <a:pt x="113" y="0"/>
                  </a:cubicBezTo>
                  <a:cubicBezTo>
                    <a:pt x="113" y="0"/>
                    <a:pt x="113" y="0"/>
                    <a:pt x="113" y="0"/>
                  </a:cubicBezTo>
                </a:path>
              </a:pathLst>
            </a:custGeom>
            <a:solidFill>
              <a:srgbClr val="264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923">
              <a:extLst>
                <a:ext uri="{FF2B5EF4-FFF2-40B4-BE49-F238E27FC236}">
                  <a16:creationId xmlns:a16="http://schemas.microsoft.com/office/drawing/2014/main" id="{409C6764-CFB5-44B9-B55A-89B815F41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2192" y="1107150"/>
              <a:ext cx="519065" cy="632934"/>
            </a:xfrm>
            <a:custGeom>
              <a:avLst/>
              <a:gdLst>
                <a:gd name="T0" fmla="*/ 153 w 174"/>
                <a:gd name="T1" fmla="*/ 0 h 212"/>
                <a:gd name="T2" fmla="*/ 101 w 174"/>
                <a:gd name="T3" fmla="*/ 71 h 212"/>
                <a:gd name="T4" fmla="*/ 92 w 174"/>
                <a:gd name="T5" fmla="*/ 84 h 212"/>
                <a:gd name="T6" fmla="*/ 89 w 174"/>
                <a:gd name="T7" fmla="*/ 87 h 212"/>
                <a:gd name="T8" fmla="*/ 0 w 174"/>
                <a:gd name="T9" fmla="*/ 189 h 212"/>
                <a:gd name="T10" fmla="*/ 44 w 174"/>
                <a:gd name="T11" fmla="*/ 212 h 212"/>
                <a:gd name="T12" fmla="*/ 174 w 174"/>
                <a:gd name="T13" fmla="*/ 11 h 212"/>
                <a:gd name="T14" fmla="*/ 153 w 174"/>
                <a:gd name="T15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212">
                  <a:moveTo>
                    <a:pt x="153" y="0"/>
                  </a:moveTo>
                  <a:cubicBezTo>
                    <a:pt x="138" y="22"/>
                    <a:pt x="121" y="46"/>
                    <a:pt x="101" y="71"/>
                  </a:cubicBezTo>
                  <a:cubicBezTo>
                    <a:pt x="99" y="76"/>
                    <a:pt x="96" y="80"/>
                    <a:pt x="92" y="84"/>
                  </a:cubicBezTo>
                  <a:cubicBezTo>
                    <a:pt x="91" y="85"/>
                    <a:pt x="90" y="86"/>
                    <a:pt x="89" y="87"/>
                  </a:cubicBezTo>
                  <a:cubicBezTo>
                    <a:pt x="63" y="120"/>
                    <a:pt x="33" y="155"/>
                    <a:pt x="0" y="189"/>
                  </a:cubicBezTo>
                  <a:cubicBezTo>
                    <a:pt x="13" y="198"/>
                    <a:pt x="28" y="206"/>
                    <a:pt x="44" y="212"/>
                  </a:cubicBezTo>
                  <a:cubicBezTo>
                    <a:pt x="103" y="145"/>
                    <a:pt x="145" y="71"/>
                    <a:pt x="174" y="11"/>
                  </a:cubicBezTo>
                  <a:cubicBezTo>
                    <a:pt x="166" y="8"/>
                    <a:pt x="159" y="4"/>
                    <a:pt x="153" y="0"/>
                  </a:cubicBezTo>
                </a:path>
              </a:pathLst>
            </a:custGeom>
            <a:solidFill>
              <a:schemeClr val="bg2">
                <a:lumMod val="25000"/>
                <a:alpha val="32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924">
              <a:extLst>
                <a:ext uri="{FF2B5EF4-FFF2-40B4-BE49-F238E27FC236}">
                  <a16:creationId xmlns:a16="http://schemas.microsoft.com/office/drawing/2014/main" id="{DED23FE4-6892-4864-8892-30A7F6CEA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6893" y="829133"/>
              <a:ext cx="173022" cy="278018"/>
            </a:xfrm>
            <a:custGeom>
              <a:avLst/>
              <a:gdLst>
                <a:gd name="T0" fmla="*/ 58 w 58"/>
                <a:gd name="T1" fmla="*/ 0 h 93"/>
                <a:gd name="T2" fmla="*/ 52 w 58"/>
                <a:gd name="T3" fmla="*/ 1 h 93"/>
                <a:gd name="T4" fmla="*/ 0 w 58"/>
                <a:gd name="T5" fmla="*/ 83 h 93"/>
                <a:gd name="T6" fmla="*/ 20 w 58"/>
                <a:gd name="T7" fmla="*/ 93 h 93"/>
                <a:gd name="T8" fmla="*/ 58 w 58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93">
                  <a:moveTo>
                    <a:pt x="58" y="0"/>
                  </a:moveTo>
                  <a:cubicBezTo>
                    <a:pt x="52" y="1"/>
                    <a:pt x="52" y="1"/>
                    <a:pt x="52" y="1"/>
                  </a:cubicBezTo>
                  <a:cubicBezTo>
                    <a:pt x="41" y="20"/>
                    <a:pt x="24" y="49"/>
                    <a:pt x="0" y="83"/>
                  </a:cubicBezTo>
                  <a:cubicBezTo>
                    <a:pt x="6" y="87"/>
                    <a:pt x="13" y="90"/>
                    <a:pt x="20" y="93"/>
                  </a:cubicBezTo>
                  <a:cubicBezTo>
                    <a:pt x="39" y="53"/>
                    <a:pt x="51" y="20"/>
                    <a:pt x="58" y="0"/>
                  </a:cubicBezTo>
                </a:path>
              </a:pathLst>
            </a:custGeom>
            <a:solidFill>
              <a:schemeClr val="bg2">
                <a:lumMod val="25000"/>
                <a:alpha val="32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925">
              <a:extLst>
                <a:ext uri="{FF2B5EF4-FFF2-40B4-BE49-F238E27FC236}">
                  <a16:creationId xmlns:a16="http://schemas.microsoft.com/office/drawing/2014/main" id="{7C2B7764-51EE-460C-902F-6D81D0849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8059" y="1698677"/>
              <a:ext cx="687650" cy="498361"/>
            </a:xfrm>
            <a:custGeom>
              <a:avLst/>
              <a:gdLst>
                <a:gd name="T0" fmla="*/ 188 w 231"/>
                <a:gd name="T1" fmla="*/ 0 h 167"/>
                <a:gd name="T2" fmla="*/ 0 w 231"/>
                <a:gd name="T3" fmla="*/ 147 h 167"/>
                <a:gd name="T4" fmla="*/ 29 w 231"/>
                <a:gd name="T5" fmla="*/ 165 h 167"/>
                <a:gd name="T6" fmla="*/ 34 w 231"/>
                <a:gd name="T7" fmla="*/ 167 h 167"/>
                <a:gd name="T8" fmla="*/ 35 w 231"/>
                <a:gd name="T9" fmla="*/ 167 h 167"/>
                <a:gd name="T10" fmla="*/ 79 w 231"/>
                <a:gd name="T11" fmla="*/ 146 h 167"/>
                <a:gd name="T12" fmla="*/ 192 w 231"/>
                <a:gd name="T13" fmla="*/ 63 h 167"/>
                <a:gd name="T14" fmla="*/ 212 w 231"/>
                <a:gd name="T15" fmla="*/ 44 h 167"/>
                <a:gd name="T16" fmla="*/ 231 w 231"/>
                <a:gd name="T17" fmla="*/ 23 h 167"/>
                <a:gd name="T18" fmla="*/ 188 w 231"/>
                <a:gd name="T1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1" h="167">
                  <a:moveTo>
                    <a:pt x="188" y="0"/>
                  </a:moveTo>
                  <a:cubicBezTo>
                    <a:pt x="133" y="55"/>
                    <a:pt x="70" y="108"/>
                    <a:pt x="0" y="147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32" y="166"/>
                    <a:pt x="33" y="166"/>
                    <a:pt x="34" y="167"/>
                  </a:cubicBezTo>
                  <a:cubicBezTo>
                    <a:pt x="35" y="167"/>
                    <a:pt x="35" y="167"/>
                    <a:pt x="35" y="167"/>
                  </a:cubicBezTo>
                  <a:cubicBezTo>
                    <a:pt x="50" y="161"/>
                    <a:pt x="65" y="154"/>
                    <a:pt x="79" y="146"/>
                  </a:cubicBezTo>
                  <a:cubicBezTo>
                    <a:pt x="121" y="123"/>
                    <a:pt x="159" y="94"/>
                    <a:pt x="192" y="63"/>
                  </a:cubicBezTo>
                  <a:cubicBezTo>
                    <a:pt x="199" y="57"/>
                    <a:pt x="206" y="50"/>
                    <a:pt x="212" y="44"/>
                  </a:cubicBezTo>
                  <a:cubicBezTo>
                    <a:pt x="219" y="37"/>
                    <a:pt x="225" y="30"/>
                    <a:pt x="231" y="23"/>
                  </a:cubicBezTo>
                  <a:cubicBezTo>
                    <a:pt x="215" y="17"/>
                    <a:pt x="201" y="9"/>
                    <a:pt x="188" y="0"/>
                  </a:cubicBezTo>
                </a:path>
              </a:pathLst>
            </a:custGeom>
            <a:solidFill>
              <a:schemeClr val="bg2">
                <a:lumMod val="25000"/>
                <a:alpha val="32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926">
              <a:extLst>
                <a:ext uri="{FF2B5EF4-FFF2-40B4-BE49-F238E27FC236}">
                  <a16:creationId xmlns:a16="http://schemas.microsoft.com/office/drawing/2014/main" id="{81BEEA16-B496-4BD4-8075-A049F7B6F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668" y="1077574"/>
              <a:ext cx="78377" cy="62110"/>
            </a:xfrm>
            <a:custGeom>
              <a:avLst/>
              <a:gdLst>
                <a:gd name="T0" fmla="*/ 6 w 26"/>
                <a:gd name="T1" fmla="*/ 0 h 21"/>
                <a:gd name="T2" fmla="*/ 0 w 26"/>
                <a:gd name="T3" fmla="*/ 10 h 21"/>
                <a:gd name="T4" fmla="*/ 21 w 26"/>
                <a:gd name="T5" fmla="*/ 21 h 21"/>
                <a:gd name="T6" fmla="*/ 26 w 26"/>
                <a:gd name="T7" fmla="*/ 10 h 21"/>
                <a:gd name="T8" fmla="*/ 6 w 26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1">
                  <a:moveTo>
                    <a:pt x="6" y="0"/>
                  </a:moveTo>
                  <a:cubicBezTo>
                    <a:pt x="4" y="4"/>
                    <a:pt x="2" y="7"/>
                    <a:pt x="0" y="10"/>
                  </a:cubicBezTo>
                  <a:cubicBezTo>
                    <a:pt x="6" y="14"/>
                    <a:pt x="13" y="18"/>
                    <a:pt x="21" y="21"/>
                  </a:cubicBezTo>
                  <a:cubicBezTo>
                    <a:pt x="23" y="17"/>
                    <a:pt x="25" y="13"/>
                    <a:pt x="26" y="10"/>
                  </a:cubicBezTo>
                  <a:cubicBezTo>
                    <a:pt x="19" y="7"/>
                    <a:pt x="12" y="4"/>
                    <a:pt x="6" y="0"/>
                  </a:cubicBezTo>
                </a:path>
              </a:pathLst>
            </a:custGeom>
            <a:solidFill>
              <a:srgbClr val="BCDB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927">
              <a:extLst>
                <a:ext uri="{FF2B5EF4-FFF2-40B4-BE49-F238E27FC236}">
                  <a16:creationId xmlns:a16="http://schemas.microsoft.com/office/drawing/2014/main" id="{44258E7A-AEB8-4080-A1FA-977CC5C68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8531" y="1672058"/>
              <a:ext cx="155276" cy="94644"/>
            </a:xfrm>
            <a:custGeom>
              <a:avLst/>
              <a:gdLst>
                <a:gd name="T0" fmla="*/ 8 w 52"/>
                <a:gd name="T1" fmla="*/ 0 h 32"/>
                <a:gd name="T2" fmla="*/ 0 w 52"/>
                <a:gd name="T3" fmla="*/ 9 h 32"/>
                <a:gd name="T4" fmla="*/ 43 w 52"/>
                <a:gd name="T5" fmla="*/ 32 h 32"/>
                <a:gd name="T6" fmla="*/ 52 w 52"/>
                <a:gd name="T7" fmla="*/ 23 h 32"/>
                <a:gd name="T8" fmla="*/ 8 w 52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2">
                  <a:moveTo>
                    <a:pt x="8" y="0"/>
                  </a:moveTo>
                  <a:cubicBezTo>
                    <a:pt x="5" y="3"/>
                    <a:pt x="2" y="6"/>
                    <a:pt x="0" y="9"/>
                  </a:cubicBezTo>
                  <a:cubicBezTo>
                    <a:pt x="13" y="18"/>
                    <a:pt x="27" y="26"/>
                    <a:pt x="43" y="32"/>
                  </a:cubicBezTo>
                  <a:cubicBezTo>
                    <a:pt x="46" y="29"/>
                    <a:pt x="49" y="26"/>
                    <a:pt x="52" y="23"/>
                  </a:cubicBezTo>
                  <a:cubicBezTo>
                    <a:pt x="36" y="17"/>
                    <a:pt x="21" y="9"/>
                    <a:pt x="8" y="0"/>
                  </a:cubicBezTo>
                </a:path>
              </a:pathLst>
            </a:custGeom>
            <a:solidFill>
              <a:srgbClr val="BCDB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928">
              <a:extLst>
                <a:ext uri="{FF2B5EF4-FFF2-40B4-BE49-F238E27FC236}">
                  <a16:creationId xmlns:a16="http://schemas.microsoft.com/office/drawing/2014/main" id="{AE980945-A341-49DB-9C52-52510C53B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0690" y="761107"/>
              <a:ext cx="42886" cy="70983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0 h 24"/>
                <a:gd name="T4" fmla="*/ 0 w 14"/>
                <a:gd name="T5" fmla="*/ 24 h 24"/>
                <a:gd name="T6" fmla="*/ 6 w 14"/>
                <a:gd name="T7" fmla="*/ 23 h 24"/>
                <a:gd name="T8" fmla="*/ 14 w 14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9" y="9"/>
                    <a:pt x="0" y="24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0" y="10"/>
                    <a:pt x="13" y="2"/>
                    <a:pt x="14" y="0"/>
                  </a:cubicBezTo>
                </a:path>
              </a:pathLst>
            </a:custGeom>
            <a:solidFill>
              <a:srgbClr val="264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929">
              <a:extLst>
                <a:ext uri="{FF2B5EF4-FFF2-40B4-BE49-F238E27FC236}">
                  <a16:creationId xmlns:a16="http://schemas.microsoft.com/office/drawing/2014/main" id="{CE2EEB58-0DFB-4981-96FD-630CB3EAF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6901" y="1318621"/>
              <a:ext cx="36970" cy="48801"/>
            </a:xfrm>
            <a:custGeom>
              <a:avLst/>
              <a:gdLst>
                <a:gd name="T0" fmla="*/ 12 w 12"/>
                <a:gd name="T1" fmla="*/ 0 h 16"/>
                <a:gd name="T2" fmla="*/ 0 w 12"/>
                <a:gd name="T3" fmla="*/ 16 h 16"/>
                <a:gd name="T4" fmla="*/ 3 w 12"/>
                <a:gd name="T5" fmla="*/ 13 h 16"/>
                <a:gd name="T6" fmla="*/ 12 w 12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12" y="0"/>
                  </a:moveTo>
                  <a:cubicBezTo>
                    <a:pt x="8" y="5"/>
                    <a:pt x="5" y="11"/>
                    <a:pt x="0" y="16"/>
                  </a:cubicBezTo>
                  <a:cubicBezTo>
                    <a:pt x="1" y="15"/>
                    <a:pt x="2" y="14"/>
                    <a:pt x="3" y="13"/>
                  </a:cubicBezTo>
                  <a:cubicBezTo>
                    <a:pt x="7" y="9"/>
                    <a:pt x="10" y="5"/>
                    <a:pt x="12" y="0"/>
                  </a:cubicBezTo>
                </a:path>
              </a:pathLst>
            </a:custGeom>
            <a:solidFill>
              <a:srgbClr val="1433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6" name="Grafik 35" descr="Ein Bild, das draußen, Person, darstellend enthält.&#10;&#10;Automatisch generierte Beschreibung">
            <a:extLst>
              <a:ext uri="{FF2B5EF4-FFF2-40B4-BE49-F238E27FC236}">
                <a16:creationId xmlns:a16="http://schemas.microsoft.com/office/drawing/2014/main" id="{F8FA8492-8A23-4A20-940A-6EAD70F854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3711" y="1501350"/>
            <a:ext cx="2057967" cy="2057967"/>
          </a:xfrm>
          <a:prstGeom prst="flowChartConnector">
            <a:avLst/>
          </a:prstGeom>
        </p:spPr>
      </p:pic>
      <p:sp>
        <p:nvSpPr>
          <p:cNvPr id="47" name="Oval 46"/>
          <p:cNvSpPr/>
          <p:nvPr/>
        </p:nvSpPr>
        <p:spPr>
          <a:xfrm>
            <a:off x="2156134" y="1497567"/>
            <a:ext cx="657743" cy="657741"/>
          </a:xfrm>
          <a:prstGeom prst="ellipse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67" b="1" dirty="0">
              <a:latin typeface="Raleway" panose="020B0503030101060003" pitchFamily="34" charset="0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64446F41-2A72-4F3F-A5A9-03ED568982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1567" y="1710249"/>
            <a:ext cx="446877" cy="232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Grafik 39" descr="Ein Bild, das Person, Schlips, Wand, Mann enthält.&#10;&#10;Automatisch generierte Beschreibung">
            <a:extLst>
              <a:ext uri="{FF2B5EF4-FFF2-40B4-BE49-F238E27FC236}">
                <a16:creationId xmlns:a16="http://schemas.microsoft.com/office/drawing/2014/main" id="{DBD3B9CD-2443-4079-942A-AEE00607CD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03331" y="1492437"/>
            <a:ext cx="2057967" cy="2057967"/>
          </a:xfrm>
          <a:prstGeom prst="flowChartConnector">
            <a:avLst/>
          </a:prstGeom>
        </p:spPr>
      </p:pic>
      <p:sp>
        <p:nvSpPr>
          <p:cNvPr id="51" name="Oval 46">
            <a:extLst>
              <a:ext uri="{FF2B5EF4-FFF2-40B4-BE49-F238E27FC236}">
                <a16:creationId xmlns:a16="http://schemas.microsoft.com/office/drawing/2014/main" id="{AA69FF7D-AEB1-4FB5-95DC-5A99498C8048}"/>
              </a:ext>
            </a:extLst>
          </p:cNvPr>
          <p:cNvSpPr/>
          <p:nvPr/>
        </p:nvSpPr>
        <p:spPr>
          <a:xfrm>
            <a:off x="10678985" y="1497567"/>
            <a:ext cx="657743" cy="657741"/>
          </a:xfrm>
          <a:prstGeom prst="ellipse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67" b="1" dirty="0">
              <a:latin typeface="Raleway" panose="020B0503030101060003" pitchFamily="34" charset="0"/>
            </a:endParaRPr>
          </a:p>
        </p:txBody>
      </p:sp>
      <p:pic>
        <p:nvPicPr>
          <p:cNvPr id="7178" name="Picture 10" descr="Institut für Mobilität - Universität St. Gallen">
            <a:extLst>
              <a:ext uri="{FF2B5EF4-FFF2-40B4-BE49-F238E27FC236}">
                <a16:creationId xmlns:a16="http://schemas.microsoft.com/office/drawing/2014/main" id="{D279189A-43E1-4402-9897-1B4F438B2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1669" y="1620249"/>
            <a:ext cx="412376" cy="412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9" name="Grafik 7168" descr="Ein Bild, das draußen, Person, Himmel, Frau enthält.&#10;&#10;Automatisch generierte Beschreibung">
            <a:extLst>
              <a:ext uri="{FF2B5EF4-FFF2-40B4-BE49-F238E27FC236}">
                <a16:creationId xmlns:a16="http://schemas.microsoft.com/office/drawing/2014/main" id="{6082A359-7697-47D0-AD55-5E0D785C17B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79017" y="1493499"/>
            <a:ext cx="2057967" cy="2057967"/>
          </a:xfrm>
          <a:prstGeom prst="flowChartConnector">
            <a:avLst/>
          </a:prstGeom>
        </p:spPr>
      </p:pic>
      <p:sp>
        <p:nvSpPr>
          <p:cNvPr id="41" name="Oval 46">
            <a:extLst>
              <a:ext uri="{FF2B5EF4-FFF2-40B4-BE49-F238E27FC236}">
                <a16:creationId xmlns:a16="http://schemas.microsoft.com/office/drawing/2014/main" id="{845C170C-AA70-4159-8FB9-4C760046BDCF}"/>
              </a:ext>
            </a:extLst>
          </p:cNvPr>
          <p:cNvSpPr/>
          <p:nvPr/>
        </p:nvSpPr>
        <p:spPr>
          <a:xfrm>
            <a:off x="7827446" y="1497567"/>
            <a:ext cx="657743" cy="657741"/>
          </a:xfrm>
          <a:prstGeom prst="ellipse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67" b="1" dirty="0">
              <a:latin typeface="Raleway" panose="020B0503030101060003" pitchFamily="34" charset="0"/>
            </a:endParaRPr>
          </a:p>
        </p:txBody>
      </p:sp>
      <p:pic>
        <p:nvPicPr>
          <p:cNvPr id="7172" name="Picture 4">
            <a:extLst>
              <a:ext uri="{FF2B5EF4-FFF2-40B4-BE49-F238E27FC236}">
                <a16:creationId xmlns:a16="http://schemas.microsoft.com/office/drawing/2014/main" id="{9624AFE6-AA9A-405F-A41B-F219547931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298" y="1736438"/>
            <a:ext cx="544039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6" descr="Ein Bild, das Baum, Person, draußen, lächelnd enthält.&#10;&#10;Beschreibung automatisch generiert.">
            <a:extLst>
              <a:ext uri="{FF2B5EF4-FFF2-40B4-BE49-F238E27FC236}">
                <a16:creationId xmlns:a16="http://schemas.microsoft.com/office/drawing/2014/main" id="{0777B030-4289-E104-6F31-542CED594E8E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3481" b="23667"/>
          <a:stretch/>
        </p:blipFill>
        <p:spPr>
          <a:xfrm>
            <a:off x="3614026" y="1492438"/>
            <a:ext cx="2129765" cy="2057967"/>
          </a:xfrm>
          <a:prstGeom prst="flowChartConnector">
            <a:avLst/>
          </a:prstGeom>
        </p:spPr>
      </p:pic>
      <p:sp>
        <p:nvSpPr>
          <p:cNvPr id="38" name="Oval 46">
            <a:extLst>
              <a:ext uri="{FF2B5EF4-FFF2-40B4-BE49-F238E27FC236}">
                <a16:creationId xmlns:a16="http://schemas.microsoft.com/office/drawing/2014/main" id="{786D5521-C23E-43BC-80D0-95244BB60D12}"/>
              </a:ext>
            </a:extLst>
          </p:cNvPr>
          <p:cNvSpPr/>
          <p:nvPr/>
        </p:nvSpPr>
        <p:spPr>
          <a:xfrm>
            <a:off x="5029602" y="1497567"/>
            <a:ext cx="657743" cy="657741"/>
          </a:xfrm>
          <a:prstGeom prst="ellipse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67" b="1" dirty="0">
              <a:latin typeface="Raleway" panose="020B0503030101060003" pitchFamily="34" charset="0"/>
            </a:endParaRPr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9A9E94C7-09F2-47EB-90BF-DD9AF3F11A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5035" y="1710249"/>
            <a:ext cx="446877" cy="232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26907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C0FFBE0-9B8F-4C70-BDCE-F4571F1531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3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C0FFBE0-9B8F-4C70-BDCE-F4571F153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347200" y="6292850"/>
            <a:ext cx="2844800" cy="363538"/>
          </a:xfrm>
        </p:spPr>
        <p:txBody>
          <a:bodyPr/>
          <a:lstStyle/>
          <a:p>
            <a:fld id="{D60D1EDE-7116-2443-9BDD-368CE5B37660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F470DC-47D7-45D8-8E4E-6A26FE6910D7}"/>
              </a:ext>
            </a:extLst>
          </p:cNvPr>
          <p:cNvSpPr/>
          <p:nvPr/>
        </p:nvSpPr>
        <p:spPr>
          <a:xfrm>
            <a:off x="1289278" y="1581982"/>
            <a:ext cx="7521239" cy="84749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Landslides endangering </a:t>
            </a:r>
            <a:r>
              <a:rPr lang="en-US" sz="1600" b="1" dirty="0">
                <a:solidFill>
                  <a:schemeClr val="tx1"/>
                </a:solidFill>
              </a:rPr>
              <a:t>people and infrastructure </a:t>
            </a:r>
          </a:p>
        </p:txBody>
      </p:sp>
      <p:sp>
        <p:nvSpPr>
          <p:cNvPr id="27" name="Flussdiagramm: Verbinder 26">
            <a:extLst>
              <a:ext uri="{FF2B5EF4-FFF2-40B4-BE49-F238E27FC236}">
                <a16:creationId xmlns:a16="http://schemas.microsoft.com/office/drawing/2014/main" id="{90F10736-9074-4E3C-9671-BCF905605E3F}"/>
              </a:ext>
            </a:extLst>
          </p:cNvPr>
          <p:cNvSpPr/>
          <p:nvPr/>
        </p:nvSpPr>
        <p:spPr>
          <a:xfrm>
            <a:off x="498594" y="1483728"/>
            <a:ext cx="1044000" cy="1044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lussdiagramm: Verbinder 5">
            <a:extLst>
              <a:ext uri="{FF2B5EF4-FFF2-40B4-BE49-F238E27FC236}">
                <a16:creationId xmlns:a16="http://schemas.microsoft.com/office/drawing/2014/main" id="{106C9BD3-A33A-4CAA-BCE4-068B25D4DDF8}"/>
              </a:ext>
            </a:extLst>
          </p:cNvPr>
          <p:cNvSpPr/>
          <p:nvPr/>
        </p:nvSpPr>
        <p:spPr>
          <a:xfrm>
            <a:off x="596848" y="1581982"/>
            <a:ext cx="847493" cy="847493"/>
          </a:xfrm>
          <a:prstGeom prst="flowChartConnector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17627780-226A-497E-9324-4B7112B7F8D6}"/>
              </a:ext>
            </a:extLst>
          </p:cNvPr>
          <p:cNvSpPr/>
          <p:nvPr/>
        </p:nvSpPr>
        <p:spPr>
          <a:xfrm>
            <a:off x="1232468" y="2768926"/>
            <a:ext cx="7521239" cy="84749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82800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limate Change leading to </a:t>
            </a:r>
            <a:r>
              <a:rPr lang="en-US" sz="1600" b="1" dirty="0">
                <a:solidFill>
                  <a:schemeClr val="tx1"/>
                </a:solidFill>
              </a:rPr>
              <a:t>extreme weather events </a:t>
            </a:r>
            <a:r>
              <a:rPr lang="en-US" sz="1600" dirty="0">
                <a:solidFill>
                  <a:schemeClr val="tx1"/>
                </a:solidFill>
              </a:rPr>
              <a:t>increases the danger for further landslides</a:t>
            </a:r>
            <a:r>
              <a:rPr lang="en-US" sz="16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3" name="Flussdiagramm: Verbinder 32">
            <a:extLst>
              <a:ext uri="{FF2B5EF4-FFF2-40B4-BE49-F238E27FC236}">
                <a16:creationId xmlns:a16="http://schemas.microsoft.com/office/drawing/2014/main" id="{F1BCB9A2-5625-4EE9-A19D-AB11C2D74CEF}"/>
              </a:ext>
            </a:extLst>
          </p:cNvPr>
          <p:cNvSpPr/>
          <p:nvPr/>
        </p:nvSpPr>
        <p:spPr>
          <a:xfrm>
            <a:off x="498594" y="2670672"/>
            <a:ext cx="1044000" cy="1044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" name="Flussdiagramm: Verbinder 33">
            <a:extLst>
              <a:ext uri="{FF2B5EF4-FFF2-40B4-BE49-F238E27FC236}">
                <a16:creationId xmlns:a16="http://schemas.microsoft.com/office/drawing/2014/main" id="{81A9D0A4-DA55-435C-B07F-F8B8833BFFE0}"/>
              </a:ext>
            </a:extLst>
          </p:cNvPr>
          <p:cNvSpPr/>
          <p:nvPr/>
        </p:nvSpPr>
        <p:spPr>
          <a:xfrm>
            <a:off x="596848" y="2768926"/>
            <a:ext cx="847493" cy="847493"/>
          </a:xfrm>
          <a:prstGeom prst="flowChartConnector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68F624BD-BFED-4F52-B721-09DAEA6D583A}"/>
              </a:ext>
            </a:extLst>
          </p:cNvPr>
          <p:cNvSpPr/>
          <p:nvPr/>
        </p:nvSpPr>
        <p:spPr>
          <a:xfrm>
            <a:off x="1232468" y="3955870"/>
            <a:ext cx="7521239" cy="84749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82800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Population density in rural areas leads to </a:t>
            </a:r>
            <a:r>
              <a:rPr lang="en-US" sz="1600" b="1" dirty="0">
                <a:solidFill>
                  <a:schemeClr val="tx1"/>
                </a:solidFill>
              </a:rPr>
              <a:t>infrastructural dependencies and more people at risk</a:t>
            </a:r>
          </a:p>
        </p:txBody>
      </p:sp>
      <p:sp>
        <p:nvSpPr>
          <p:cNvPr id="37" name="Flussdiagramm: Verbinder 36">
            <a:extLst>
              <a:ext uri="{FF2B5EF4-FFF2-40B4-BE49-F238E27FC236}">
                <a16:creationId xmlns:a16="http://schemas.microsoft.com/office/drawing/2014/main" id="{8472966B-DD48-48C3-A4FC-F4672D8727F7}"/>
              </a:ext>
            </a:extLst>
          </p:cNvPr>
          <p:cNvSpPr/>
          <p:nvPr/>
        </p:nvSpPr>
        <p:spPr>
          <a:xfrm>
            <a:off x="498594" y="3857616"/>
            <a:ext cx="1044000" cy="1044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" name="Flussdiagramm: Verbinder 37">
            <a:extLst>
              <a:ext uri="{FF2B5EF4-FFF2-40B4-BE49-F238E27FC236}">
                <a16:creationId xmlns:a16="http://schemas.microsoft.com/office/drawing/2014/main" id="{26F5ECA0-7038-44AA-A4DD-A82AD449AF06}"/>
              </a:ext>
            </a:extLst>
          </p:cNvPr>
          <p:cNvSpPr/>
          <p:nvPr/>
        </p:nvSpPr>
        <p:spPr>
          <a:xfrm>
            <a:off x="596848" y="3955870"/>
            <a:ext cx="847493" cy="847493"/>
          </a:xfrm>
          <a:prstGeom prst="flowChartConnector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6FE2F34-EE0D-4D0E-BDFB-0F4681CF6F3C}"/>
              </a:ext>
            </a:extLst>
          </p:cNvPr>
          <p:cNvSpPr/>
          <p:nvPr/>
        </p:nvSpPr>
        <p:spPr>
          <a:xfrm>
            <a:off x="1232468" y="5142815"/>
            <a:ext cx="7521239" cy="84749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147600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Lack of </a:t>
            </a:r>
            <a:r>
              <a:rPr lang="en-US" sz="1600" b="1" dirty="0">
                <a:solidFill>
                  <a:schemeClr val="tx1"/>
                </a:solidFill>
              </a:rPr>
              <a:t>efficient data-driven prediction monitoring </a:t>
            </a:r>
            <a:r>
              <a:rPr lang="en-US" sz="1600" dirty="0">
                <a:solidFill>
                  <a:schemeClr val="tx1"/>
                </a:solidFill>
              </a:rPr>
              <a:t>in current Landslide Warning Systems</a:t>
            </a: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E858514D-BDFE-4A0C-BE4B-A6C10E1AD166}"/>
              </a:ext>
            </a:extLst>
          </p:cNvPr>
          <p:cNvSpPr/>
          <p:nvPr/>
        </p:nvSpPr>
        <p:spPr>
          <a:xfrm>
            <a:off x="498594" y="5044561"/>
            <a:ext cx="1044000" cy="1044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" name="Flussdiagramm: Verbinder 41">
            <a:extLst>
              <a:ext uri="{FF2B5EF4-FFF2-40B4-BE49-F238E27FC236}">
                <a16:creationId xmlns:a16="http://schemas.microsoft.com/office/drawing/2014/main" id="{F51C144D-75FA-4699-81E6-924B52EC7C2C}"/>
              </a:ext>
            </a:extLst>
          </p:cNvPr>
          <p:cNvSpPr/>
          <p:nvPr/>
        </p:nvSpPr>
        <p:spPr>
          <a:xfrm>
            <a:off x="596848" y="5142815"/>
            <a:ext cx="847493" cy="847493"/>
          </a:xfrm>
          <a:prstGeom prst="flowChartConnector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D674559-19B1-4556-8491-30952951BE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3228" y="4082250"/>
            <a:ext cx="594733" cy="59473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C60BC19-1DFF-4DB8-B94C-A541C370AC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3228" y="2895306"/>
            <a:ext cx="594733" cy="59473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89AD36E-06D7-4F00-81F5-2E10F54AB0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9746" y="1731427"/>
            <a:ext cx="504000" cy="50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7D93A4E-60BE-48AD-AE45-B9D3EBD9D92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3228" y="5269195"/>
            <a:ext cx="594733" cy="594733"/>
          </a:xfrm>
          <a:prstGeom prst="rect">
            <a:avLst/>
          </a:prstGeom>
        </p:spPr>
      </p:pic>
      <p:sp>
        <p:nvSpPr>
          <p:cNvPr id="157" name="Freeform 156"/>
          <p:cNvSpPr/>
          <p:nvPr/>
        </p:nvSpPr>
        <p:spPr>
          <a:xfrm>
            <a:off x="6490011" y="0"/>
            <a:ext cx="5701988" cy="6865464"/>
          </a:xfrm>
          <a:custGeom>
            <a:avLst/>
            <a:gdLst>
              <a:gd name="connsiteX0" fmla="*/ 2483124 w 5460510"/>
              <a:gd name="connsiteY0" fmla="*/ 0 h 5143500"/>
              <a:gd name="connsiteX1" fmla="*/ 3771407 w 5460510"/>
              <a:gd name="connsiteY1" fmla="*/ 0 h 5143500"/>
              <a:gd name="connsiteX2" fmla="*/ 4717679 w 5460510"/>
              <a:gd name="connsiteY2" fmla="*/ 0 h 5143500"/>
              <a:gd name="connsiteX3" fmla="*/ 5460510 w 5460510"/>
              <a:gd name="connsiteY3" fmla="*/ 0 h 5143500"/>
              <a:gd name="connsiteX4" fmla="*/ 5460510 w 5460510"/>
              <a:gd name="connsiteY4" fmla="*/ 5143500 h 5143500"/>
              <a:gd name="connsiteX5" fmla="*/ 4717679 w 5460510"/>
              <a:gd name="connsiteY5" fmla="*/ 5143500 h 5143500"/>
              <a:gd name="connsiteX6" fmla="*/ 3771407 w 5460510"/>
              <a:gd name="connsiteY6" fmla="*/ 5143500 h 5143500"/>
              <a:gd name="connsiteX7" fmla="*/ 0 w 546051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60510" h="5143500">
                <a:moveTo>
                  <a:pt x="2483124" y="0"/>
                </a:moveTo>
                <a:lnTo>
                  <a:pt x="3771407" y="0"/>
                </a:lnTo>
                <a:lnTo>
                  <a:pt x="4717679" y="0"/>
                </a:lnTo>
                <a:lnTo>
                  <a:pt x="5460510" y="0"/>
                </a:lnTo>
                <a:lnTo>
                  <a:pt x="5460510" y="5143500"/>
                </a:lnTo>
                <a:lnTo>
                  <a:pt x="4717679" y="5143500"/>
                </a:lnTo>
                <a:lnTo>
                  <a:pt x="3771407" y="5143500"/>
                </a:lnTo>
                <a:lnTo>
                  <a:pt x="0" y="5143500"/>
                </a:lnTo>
                <a:close/>
              </a:path>
            </a:pathLst>
          </a:custGeom>
          <a:blipFill dpi="0" rotWithShape="1"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 r="-14000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5" name="Title 2">
            <a:extLst>
              <a:ext uri="{FF2B5EF4-FFF2-40B4-BE49-F238E27FC236}">
                <a16:creationId xmlns:a16="http://schemas.microsoft.com/office/drawing/2014/main" id="{EB4D55FD-C0E1-49CF-A4AF-4D7F5AE164E2}"/>
              </a:ext>
            </a:extLst>
          </p:cNvPr>
          <p:cNvSpPr txBox="1">
            <a:spLocks/>
          </p:cNvSpPr>
          <p:nvPr/>
        </p:nvSpPr>
        <p:spPr>
          <a:xfrm>
            <a:off x="521917" y="401132"/>
            <a:ext cx="11145781" cy="461665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rgbClr val="3F3F3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400" b="1" dirty="0">
                <a:solidFill>
                  <a:srgbClr val="000000"/>
                </a:solidFill>
                <a:latin typeface="Raleway" pitchFamily="2" charset="0"/>
              </a:rPr>
              <a:t>Problem identification</a:t>
            </a:r>
          </a:p>
        </p:txBody>
      </p:sp>
    </p:spTree>
    <p:extLst>
      <p:ext uri="{BB962C8B-B14F-4D97-AF65-F5344CB8AC3E}">
        <p14:creationId xmlns:p14="http://schemas.microsoft.com/office/powerpoint/2010/main" val="38828601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C0FFBE0-9B8F-4C70-BDCE-F4571F1531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249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C0FFBE0-9B8F-4C70-BDCE-F4571F153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648278" y="6538172"/>
            <a:ext cx="2844800" cy="363538"/>
          </a:xfrm>
        </p:spPr>
        <p:txBody>
          <a:bodyPr/>
          <a:lstStyle/>
          <a:p>
            <a:fld id="{D60D1EDE-7116-2443-9BDD-368CE5B3766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7" name="Flussdiagramm: Verbinder 26">
            <a:extLst>
              <a:ext uri="{FF2B5EF4-FFF2-40B4-BE49-F238E27FC236}">
                <a16:creationId xmlns:a16="http://schemas.microsoft.com/office/drawing/2014/main" id="{90F10736-9074-4E3C-9671-BCF905605E3F}"/>
              </a:ext>
            </a:extLst>
          </p:cNvPr>
          <p:cNvSpPr/>
          <p:nvPr/>
        </p:nvSpPr>
        <p:spPr>
          <a:xfrm>
            <a:off x="498594" y="1483728"/>
            <a:ext cx="1044000" cy="1044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Freeform 156"/>
          <p:cNvSpPr/>
          <p:nvPr/>
        </p:nvSpPr>
        <p:spPr>
          <a:xfrm flipH="1">
            <a:off x="-1" y="0"/>
            <a:ext cx="5702400" cy="6858000"/>
          </a:xfrm>
          <a:custGeom>
            <a:avLst/>
            <a:gdLst>
              <a:gd name="connsiteX0" fmla="*/ 2483124 w 5460510"/>
              <a:gd name="connsiteY0" fmla="*/ 0 h 5143500"/>
              <a:gd name="connsiteX1" fmla="*/ 3771407 w 5460510"/>
              <a:gd name="connsiteY1" fmla="*/ 0 h 5143500"/>
              <a:gd name="connsiteX2" fmla="*/ 4717679 w 5460510"/>
              <a:gd name="connsiteY2" fmla="*/ 0 h 5143500"/>
              <a:gd name="connsiteX3" fmla="*/ 5460510 w 5460510"/>
              <a:gd name="connsiteY3" fmla="*/ 0 h 5143500"/>
              <a:gd name="connsiteX4" fmla="*/ 5460510 w 5460510"/>
              <a:gd name="connsiteY4" fmla="*/ 5143500 h 5143500"/>
              <a:gd name="connsiteX5" fmla="*/ 4717679 w 5460510"/>
              <a:gd name="connsiteY5" fmla="*/ 5143500 h 5143500"/>
              <a:gd name="connsiteX6" fmla="*/ 3771407 w 5460510"/>
              <a:gd name="connsiteY6" fmla="*/ 5143500 h 5143500"/>
              <a:gd name="connsiteX7" fmla="*/ 0 w 546051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60510" h="5143500">
                <a:moveTo>
                  <a:pt x="2483124" y="0"/>
                </a:moveTo>
                <a:lnTo>
                  <a:pt x="3771407" y="0"/>
                </a:lnTo>
                <a:lnTo>
                  <a:pt x="4717679" y="0"/>
                </a:lnTo>
                <a:lnTo>
                  <a:pt x="5460510" y="0"/>
                </a:lnTo>
                <a:lnTo>
                  <a:pt x="5460510" y="5143500"/>
                </a:lnTo>
                <a:lnTo>
                  <a:pt x="4717679" y="5143500"/>
                </a:lnTo>
                <a:lnTo>
                  <a:pt x="3771407" y="5143500"/>
                </a:lnTo>
                <a:lnTo>
                  <a:pt x="0" y="5143500"/>
                </a:lnTo>
                <a:close/>
              </a:path>
            </a:pathLst>
          </a:custGeom>
          <a:blipFill dpi="0" rotWithShape="1">
            <a:blip r:embed="rId7"/>
            <a:srcRect/>
            <a:stretch>
              <a:fillRect l="-9000" r="-8000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F5110C1-FD1F-449F-B62D-8FC02D1C3543}"/>
              </a:ext>
            </a:extLst>
          </p:cNvPr>
          <p:cNvSpPr/>
          <p:nvPr/>
        </p:nvSpPr>
        <p:spPr>
          <a:xfrm>
            <a:off x="3078131" y="1398270"/>
            <a:ext cx="8664498" cy="568096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Data gathering through </a:t>
            </a:r>
            <a:r>
              <a:rPr lang="en-US" b="1" dirty="0">
                <a:solidFill>
                  <a:srgbClr val="000000"/>
                </a:solidFill>
              </a:rPr>
              <a:t>topological and geological measurement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25EAD75F-ADCD-4085-892A-95D44EB2BB72}"/>
              </a:ext>
            </a:extLst>
          </p:cNvPr>
          <p:cNvSpPr/>
          <p:nvPr/>
        </p:nvSpPr>
        <p:spPr>
          <a:xfrm>
            <a:off x="3078131" y="3459114"/>
            <a:ext cx="8664498" cy="568096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Using </a:t>
            </a:r>
            <a:r>
              <a:rPr lang="en-US" b="1" dirty="0">
                <a:solidFill>
                  <a:srgbClr val="000000"/>
                </a:solidFill>
              </a:rPr>
              <a:t>ensemble of binary classification methods </a:t>
            </a:r>
            <a:r>
              <a:rPr lang="en-US" dirty="0">
                <a:solidFill>
                  <a:srgbClr val="000000"/>
                </a:solidFill>
              </a:rPr>
              <a:t>for data analysis</a:t>
            </a:r>
          </a:p>
        </p:txBody>
      </p:sp>
      <p:sp>
        <p:nvSpPr>
          <p:cNvPr id="7" name="Gleichschenkliges Dreieck 6">
            <a:extLst>
              <a:ext uri="{FF2B5EF4-FFF2-40B4-BE49-F238E27FC236}">
                <a16:creationId xmlns:a16="http://schemas.microsoft.com/office/drawing/2014/main" id="{6016B6E3-D8AC-4AD4-9662-96FFEDF690EA}"/>
              </a:ext>
            </a:extLst>
          </p:cNvPr>
          <p:cNvSpPr/>
          <p:nvPr/>
        </p:nvSpPr>
        <p:spPr>
          <a:xfrm rot="10800000">
            <a:off x="5570232" y="2157759"/>
            <a:ext cx="3680297" cy="350472"/>
          </a:xfrm>
          <a:prstGeom prst="triangle">
            <a:avLst>
              <a:gd name="adj" fmla="val 5012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: abgerundete Ecken 62">
            <a:extLst>
              <a:ext uri="{FF2B5EF4-FFF2-40B4-BE49-F238E27FC236}">
                <a16:creationId xmlns:a16="http://schemas.microsoft.com/office/drawing/2014/main" id="{4BB75904-0DD4-4BED-B74E-8DAEF278DBC0}"/>
              </a:ext>
            </a:extLst>
          </p:cNvPr>
          <p:cNvSpPr/>
          <p:nvPr/>
        </p:nvSpPr>
        <p:spPr>
          <a:xfrm>
            <a:off x="3078131" y="4760468"/>
            <a:ext cx="8664498" cy="568096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Predictions</a:t>
            </a:r>
            <a:r>
              <a:rPr lang="en-US" dirty="0">
                <a:solidFill>
                  <a:srgbClr val="000000"/>
                </a:solidFill>
              </a:rPr>
              <a:t> on future landslides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AF5708F1-02D1-4437-918A-B7FE8AC891AD}"/>
              </a:ext>
            </a:extLst>
          </p:cNvPr>
          <p:cNvSpPr/>
          <p:nvPr/>
        </p:nvSpPr>
        <p:spPr>
          <a:xfrm>
            <a:off x="3078131" y="6061821"/>
            <a:ext cx="8664498" cy="568096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Real-life measures </a:t>
            </a:r>
            <a:r>
              <a:rPr lang="en-US" dirty="0">
                <a:solidFill>
                  <a:srgbClr val="000000"/>
                </a:solidFill>
              </a:rPr>
              <a:t>to minimize the damages</a:t>
            </a:r>
          </a:p>
        </p:txBody>
      </p:sp>
      <p:sp>
        <p:nvSpPr>
          <p:cNvPr id="65" name="Gleichschenkliges Dreieck 64">
            <a:extLst>
              <a:ext uri="{FF2B5EF4-FFF2-40B4-BE49-F238E27FC236}">
                <a16:creationId xmlns:a16="http://schemas.microsoft.com/office/drawing/2014/main" id="{6AFCE418-ADBE-4D1E-B0AA-414474F673D6}"/>
              </a:ext>
            </a:extLst>
          </p:cNvPr>
          <p:cNvSpPr/>
          <p:nvPr/>
        </p:nvSpPr>
        <p:spPr>
          <a:xfrm rot="10800000">
            <a:off x="5570232" y="4218603"/>
            <a:ext cx="3680297" cy="350472"/>
          </a:xfrm>
          <a:prstGeom prst="triangle">
            <a:avLst>
              <a:gd name="adj" fmla="val 5012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Gleichschenkliges Dreieck 65">
            <a:extLst>
              <a:ext uri="{FF2B5EF4-FFF2-40B4-BE49-F238E27FC236}">
                <a16:creationId xmlns:a16="http://schemas.microsoft.com/office/drawing/2014/main" id="{CB421799-779E-4807-B6F3-081DA8C41B4B}"/>
              </a:ext>
            </a:extLst>
          </p:cNvPr>
          <p:cNvSpPr/>
          <p:nvPr/>
        </p:nvSpPr>
        <p:spPr>
          <a:xfrm rot="10800000">
            <a:off x="5653435" y="5519957"/>
            <a:ext cx="3680297" cy="350472"/>
          </a:xfrm>
          <a:prstGeom prst="triangle">
            <a:avLst>
              <a:gd name="adj" fmla="val 5012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" name="Rechteck: abgerundete Ecken 54">
            <a:extLst>
              <a:ext uri="{FF2B5EF4-FFF2-40B4-BE49-F238E27FC236}">
                <a16:creationId xmlns:a16="http://schemas.microsoft.com/office/drawing/2014/main" id="{02DC0352-BD78-47A9-992D-0003BA8431C0}"/>
              </a:ext>
            </a:extLst>
          </p:cNvPr>
          <p:cNvSpPr/>
          <p:nvPr/>
        </p:nvSpPr>
        <p:spPr>
          <a:xfrm>
            <a:off x="3078131" y="2699624"/>
            <a:ext cx="2703953" cy="568097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Training data</a:t>
            </a:r>
          </a:p>
        </p:txBody>
      </p:sp>
      <p:sp>
        <p:nvSpPr>
          <p:cNvPr id="61" name="Rechteck: abgerundete Ecken 60">
            <a:extLst>
              <a:ext uri="{FF2B5EF4-FFF2-40B4-BE49-F238E27FC236}">
                <a16:creationId xmlns:a16="http://schemas.microsoft.com/office/drawing/2014/main" id="{364E7CEC-A227-4437-B7DC-7F0BD99C2B6C}"/>
              </a:ext>
            </a:extLst>
          </p:cNvPr>
          <p:cNvSpPr/>
          <p:nvPr/>
        </p:nvSpPr>
        <p:spPr>
          <a:xfrm>
            <a:off x="6058403" y="2699624"/>
            <a:ext cx="2703953" cy="568097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Validation data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9938BBED-80CB-452C-9809-DB0F48C6D0FA}"/>
              </a:ext>
            </a:extLst>
          </p:cNvPr>
          <p:cNvSpPr/>
          <p:nvPr/>
        </p:nvSpPr>
        <p:spPr>
          <a:xfrm>
            <a:off x="9038676" y="2699624"/>
            <a:ext cx="2703953" cy="56809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Test data</a:t>
            </a:r>
          </a:p>
        </p:txBody>
      </p:sp>
      <p:pic>
        <p:nvPicPr>
          <p:cNvPr id="9220" name="Picture 4">
            <a:extLst>
              <a:ext uri="{FF2B5EF4-FFF2-40B4-BE49-F238E27FC236}">
                <a16:creationId xmlns:a16="http://schemas.microsoft.com/office/drawing/2014/main" id="{AA59C438-5DF7-438D-979E-D03BDA20BB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1545" y="2699624"/>
            <a:ext cx="568098" cy="568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Title 2">
            <a:extLst>
              <a:ext uri="{FF2B5EF4-FFF2-40B4-BE49-F238E27FC236}">
                <a16:creationId xmlns:a16="http://schemas.microsoft.com/office/drawing/2014/main" id="{3875DDFA-7A91-4527-A1DD-9AB9CC5E6B13}"/>
              </a:ext>
            </a:extLst>
          </p:cNvPr>
          <p:cNvSpPr txBox="1">
            <a:spLocks/>
          </p:cNvSpPr>
          <p:nvPr/>
        </p:nvSpPr>
        <p:spPr>
          <a:xfrm>
            <a:off x="521917" y="401132"/>
            <a:ext cx="11145781" cy="461665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rgbClr val="3F3F3F"/>
                </a:solidFill>
                <a:latin typeface="Arial"/>
                <a:ea typeface="+mj-ea"/>
                <a:cs typeface="Arial"/>
              </a:defRPr>
            </a:lvl1pPr>
          </a:lstStyle>
          <a:p>
            <a:pPr algn="r"/>
            <a:r>
              <a:rPr lang="en-US" sz="2400" b="1" dirty="0">
                <a:solidFill>
                  <a:srgbClr val="000000"/>
                </a:solidFill>
                <a:latin typeface="Raleway" pitchFamily="2" charset="0"/>
              </a:rPr>
              <a:t>Solution: Data-driven landslide prediction model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51BABD0-4E2C-4110-8793-267B5D356E5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35167" y="3530267"/>
            <a:ext cx="425790" cy="425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981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C0FFBE0-9B8F-4C70-BDCE-F4571F1531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202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C0FFBE0-9B8F-4C70-BDCE-F4571F153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648278" y="6538172"/>
            <a:ext cx="2844800" cy="363538"/>
          </a:xfrm>
        </p:spPr>
        <p:txBody>
          <a:bodyPr/>
          <a:lstStyle/>
          <a:p>
            <a:fld id="{D60D1EDE-7116-2443-9BDD-368CE5B3766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0" name="Title 2">
            <a:extLst>
              <a:ext uri="{FF2B5EF4-FFF2-40B4-BE49-F238E27FC236}">
                <a16:creationId xmlns:a16="http://schemas.microsoft.com/office/drawing/2014/main" id="{3875DDFA-7A91-4527-A1DD-9AB9CC5E6B13}"/>
              </a:ext>
            </a:extLst>
          </p:cNvPr>
          <p:cNvSpPr txBox="1">
            <a:spLocks/>
          </p:cNvSpPr>
          <p:nvPr/>
        </p:nvSpPr>
        <p:spPr>
          <a:xfrm>
            <a:off x="521917" y="401132"/>
            <a:ext cx="11145781" cy="461665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rgbClr val="3F3F3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400" b="1" dirty="0">
                <a:solidFill>
                  <a:srgbClr val="000000"/>
                </a:solidFill>
                <a:latin typeface="Raleway" pitchFamily="2" charset="0"/>
              </a:rPr>
              <a:t> 	 Deep Dive Solution: Ensemble of binary classification method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5C818B-434D-4CCC-BF33-2D7FBE7EA4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83257" y="1410113"/>
            <a:ext cx="8823102" cy="50633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69954F88-29AE-45A3-A9FA-6DA8FF0C3D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1917" y="401132"/>
            <a:ext cx="642406" cy="6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996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C0FFBE0-9B8F-4C70-BDCE-F4571F1531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867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C0FFBE0-9B8F-4C70-BDCE-F4571F153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7" name="Freeform 156"/>
          <p:cNvSpPr/>
          <p:nvPr/>
        </p:nvSpPr>
        <p:spPr>
          <a:xfrm>
            <a:off x="6490011" y="0"/>
            <a:ext cx="5701988" cy="6865464"/>
          </a:xfrm>
          <a:custGeom>
            <a:avLst/>
            <a:gdLst>
              <a:gd name="connsiteX0" fmla="*/ 2483124 w 5460510"/>
              <a:gd name="connsiteY0" fmla="*/ 0 h 5143500"/>
              <a:gd name="connsiteX1" fmla="*/ 3771407 w 5460510"/>
              <a:gd name="connsiteY1" fmla="*/ 0 h 5143500"/>
              <a:gd name="connsiteX2" fmla="*/ 4717679 w 5460510"/>
              <a:gd name="connsiteY2" fmla="*/ 0 h 5143500"/>
              <a:gd name="connsiteX3" fmla="*/ 5460510 w 5460510"/>
              <a:gd name="connsiteY3" fmla="*/ 0 h 5143500"/>
              <a:gd name="connsiteX4" fmla="*/ 5460510 w 5460510"/>
              <a:gd name="connsiteY4" fmla="*/ 5143500 h 5143500"/>
              <a:gd name="connsiteX5" fmla="*/ 4717679 w 5460510"/>
              <a:gd name="connsiteY5" fmla="*/ 5143500 h 5143500"/>
              <a:gd name="connsiteX6" fmla="*/ 3771407 w 5460510"/>
              <a:gd name="connsiteY6" fmla="*/ 5143500 h 5143500"/>
              <a:gd name="connsiteX7" fmla="*/ 0 w 546051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60510" h="5143500">
                <a:moveTo>
                  <a:pt x="2483124" y="0"/>
                </a:moveTo>
                <a:lnTo>
                  <a:pt x="3771407" y="0"/>
                </a:lnTo>
                <a:lnTo>
                  <a:pt x="4717679" y="0"/>
                </a:lnTo>
                <a:lnTo>
                  <a:pt x="5460510" y="0"/>
                </a:lnTo>
                <a:lnTo>
                  <a:pt x="5460510" y="5143500"/>
                </a:lnTo>
                <a:lnTo>
                  <a:pt x="4717679" y="5143500"/>
                </a:lnTo>
                <a:lnTo>
                  <a:pt x="3771407" y="5143500"/>
                </a:lnTo>
                <a:lnTo>
                  <a:pt x="0" y="5143500"/>
                </a:lnTo>
                <a:close/>
              </a:path>
            </a:pathLst>
          </a:custGeom>
          <a:blipFill dpi="0" rotWithShape="1">
            <a:blip r:embed="rId7"/>
            <a:srcRect/>
            <a:stretch>
              <a:fillRect l="-34000" r="-34000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5" name="Title 2">
            <a:extLst>
              <a:ext uri="{FF2B5EF4-FFF2-40B4-BE49-F238E27FC236}">
                <a16:creationId xmlns:a16="http://schemas.microsoft.com/office/drawing/2014/main" id="{EB4D55FD-C0E1-49CF-A4AF-4D7F5AE164E2}"/>
              </a:ext>
            </a:extLst>
          </p:cNvPr>
          <p:cNvSpPr txBox="1">
            <a:spLocks/>
          </p:cNvSpPr>
          <p:nvPr/>
        </p:nvSpPr>
        <p:spPr>
          <a:xfrm>
            <a:off x="521917" y="401132"/>
            <a:ext cx="11145781" cy="461665"/>
          </a:xfrm>
          <a:prstGeom prst="rect">
            <a:avLst/>
          </a:prstGeom>
        </p:spPr>
        <p:txBody>
          <a:bodyPr vert="horz" rIns="2952000"/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rgbClr val="3F3F3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400" b="1" dirty="0">
                <a:solidFill>
                  <a:srgbClr val="000000"/>
                </a:solidFill>
                <a:latin typeface="Raleway" pitchFamily="2" charset="0"/>
              </a:rPr>
              <a:t>Holistic approach: The successful implementation of a Landslide Prediction Model consists of various factors</a:t>
            </a:r>
          </a:p>
        </p:txBody>
      </p:sp>
      <p:sp>
        <p:nvSpPr>
          <p:cNvPr id="37" name="Textfeld 17">
            <a:extLst>
              <a:ext uri="{FF2B5EF4-FFF2-40B4-BE49-F238E27FC236}">
                <a16:creationId xmlns:a16="http://schemas.microsoft.com/office/drawing/2014/main" id="{7E626AB7-D8E5-44AD-BB19-9EA9ED7C6E41}"/>
              </a:ext>
            </a:extLst>
          </p:cNvPr>
          <p:cNvSpPr txBox="1"/>
          <p:nvPr/>
        </p:nvSpPr>
        <p:spPr bwMode="gray">
          <a:xfrm>
            <a:off x="207401" y="3710099"/>
            <a:ext cx="1533753" cy="55399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solidFill>
                  <a:schemeClr val="tx1"/>
                </a:solidFill>
                <a:ea typeface="Arial Unicode MS"/>
              </a:rPr>
              <a:t>Collaboration </a:t>
            </a:r>
          </a:p>
          <a:p>
            <a:pPr algn="r"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solidFill>
                  <a:schemeClr val="tx1"/>
                </a:solidFill>
                <a:ea typeface="Arial Unicode MS"/>
              </a:rPr>
              <a:t>w</a:t>
            </a:r>
            <a:r>
              <a:rPr lang="en-US" dirty="0">
                <a:ea typeface="Arial Unicode MS"/>
              </a:rPr>
              <a:t>ith community</a:t>
            </a:r>
            <a:endParaRPr lang="en-US" dirty="0">
              <a:solidFill>
                <a:schemeClr val="tx1"/>
              </a:solidFill>
              <a:ea typeface="Arial Unicode MS"/>
            </a:endParaRPr>
          </a:p>
        </p:txBody>
      </p:sp>
      <p:sp>
        <p:nvSpPr>
          <p:cNvPr id="38" name="Textfeld 18">
            <a:extLst>
              <a:ext uri="{FF2B5EF4-FFF2-40B4-BE49-F238E27FC236}">
                <a16:creationId xmlns:a16="http://schemas.microsoft.com/office/drawing/2014/main" id="{F87AE3B8-5A03-45C1-843B-7C90AE650759}"/>
              </a:ext>
            </a:extLst>
          </p:cNvPr>
          <p:cNvSpPr txBox="1"/>
          <p:nvPr/>
        </p:nvSpPr>
        <p:spPr bwMode="gray">
          <a:xfrm>
            <a:off x="277507" y="5084916"/>
            <a:ext cx="2077748" cy="55399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solidFill>
                  <a:schemeClr val="tx1"/>
                </a:solidFill>
                <a:ea typeface="Arial Unicode MS"/>
              </a:rPr>
              <a:t>Definition of </a:t>
            </a:r>
            <a:r>
              <a:rPr lang="en-US" dirty="0">
                <a:ea typeface="Arial Unicode MS"/>
              </a:rPr>
              <a:t>SOP in </a:t>
            </a:r>
          </a:p>
          <a:p>
            <a:pPr algn="r"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ea typeface="Arial Unicode MS"/>
              </a:rPr>
              <a:t>case of landslide alert</a:t>
            </a:r>
            <a:endParaRPr lang="en-US" dirty="0">
              <a:solidFill>
                <a:schemeClr val="tx1"/>
              </a:solidFill>
              <a:ea typeface="Arial Unicode MS"/>
            </a:endParaRPr>
          </a:p>
        </p:txBody>
      </p:sp>
      <p:sp>
        <p:nvSpPr>
          <p:cNvPr id="39" name="Textfeld 19">
            <a:extLst>
              <a:ext uri="{FF2B5EF4-FFF2-40B4-BE49-F238E27FC236}">
                <a16:creationId xmlns:a16="http://schemas.microsoft.com/office/drawing/2014/main" id="{12CF2D77-B46F-4D1F-B34A-D2F4C9FFB0D5}"/>
              </a:ext>
            </a:extLst>
          </p:cNvPr>
          <p:cNvSpPr txBox="1"/>
          <p:nvPr/>
        </p:nvSpPr>
        <p:spPr bwMode="gray">
          <a:xfrm>
            <a:off x="5127624" y="2333613"/>
            <a:ext cx="2111334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ea typeface="Arial Unicode MS"/>
              </a:rPr>
              <a:t>Data collection and measurement  </a:t>
            </a:r>
            <a:endParaRPr lang="en-US" dirty="0">
              <a:solidFill>
                <a:schemeClr val="tx1"/>
              </a:solidFill>
              <a:ea typeface="Arial Unicode MS"/>
            </a:endParaRPr>
          </a:p>
        </p:txBody>
      </p:sp>
      <p:sp>
        <p:nvSpPr>
          <p:cNvPr id="40" name="Textfeld 20">
            <a:extLst>
              <a:ext uri="{FF2B5EF4-FFF2-40B4-BE49-F238E27FC236}">
                <a16:creationId xmlns:a16="http://schemas.microsoft.com/office/drawing/2014/main" id="{A2BE485A-6B0E-49C7-80F7-7DBBCD17DFE3}"/>
              </a:ext>
            </a:extLst>
          </p:cNvPr>
          <p:cNvSpPr txBox="1"/>
          <p:nvPr/>
        </p:nvSpPr>
        <p:spPr bwMode="gray">
          <a:xfrm>
            <a:off x="5876571" y="3571599"/>
            <a:ext cx="2355699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ea typeface="Arial Unicode MS"/>
              </a:rPr>
              <a:t>Updating and </a:t>
            </a:r>
          </a:p>
          <a:p>
            <a:pPr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solidFill>
                  <a:schemeClr val="tx1"/>
                </a:solidFill>
                <a:ea typeface="Arial Unicode MS"/>
              </a:rPr>
              <a:t>Administration </a:t>
            </a:r>
          </a:p>
          <a:p>
            <a:pPr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solidFill>
                  <a:schemeClr val="tx1"/>
                </a:solidFill>
                <a:ea typeface="Arial Unicode MS"/>
              </a:rPr>
              <a:t>of model</a:t>
            </a:r>
          </a:p>
        </p:txBody>
      </p:sp>
      <p:sp>
        <p:nvSpPr>
          <p:cNvPr id="41" name="Textfeld 21">
            <a:extLst>
              <a:ext uri="{FF2B5EF4-FFF2-40B4-BE49-F238E27FC236}">
                <a16:creationId xmlns:a16="http://schemas.microsoft.com/office/drawing/2014/main" id="{1B134213-B973-4313-B480-90731868EAC1}"/>
              </a:ext>
            </a:extLst>
          </p:cNvPr>
          <p:cNvSpPr txBox="1"/>
          <p:nvPr/>
        </p:nvSpPr>
        <p:spPr bwMode="gray">
          <a:xfrm>
            <a:off x="5164610" y="5084916"/>
            <a:ext cx="1678152" cy="55399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ea typeface="Arial Unicode MS"/>
              </a:rPr>
              <a:t>Establishment of </a:t>
            </a:r>
          </a:p>
          <a:p>
            <a:pPr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ea typeface="Arial Unicode MS"/>
              </a:rPr>
              <a:t>r</a:t>
            </a:r>
            <a:r>
              <a:rPr lang="en-US" dirty="0">
                <a:solidFill>
                  <a:schemeClr val="tx1"/>
                </a:solidFill>
                <a:ea typeface="Arial Unicode MS"/>
              </a:rPr>
              <a:t>esponsible body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D506344-0A45-4F93-A6D4-AE1837EC1870}"/>
              </a:ext>
            </a:extLst>
          </p:cNvPr>
          <p:cNvSpPr/>
          <p:nvPr/>
        </p:nvSpPr>
        <p:spPr bwMode="gray">
          <a:xfrm>
            <a:off x="2476739" y="2230766"/>
            <a:ext cx="757246" cy="75969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600" dirty="0">
              <a:ea typeface="Arial Unicode MS"/>
            </a:endParaRPr>
          </a:p>
        </p:txBody>
      </p:sp>
      <p:sp>
        <p:nvSpPr>
          <p:cNvPr id="2" name="Flussdiagramm: Verbinder 1">
            <a:extLst>
              <a:ext uri="{FF2B5EF4-FFF2-40B4-BE49-F238E27FC236}">
                <a16:creationId xmlns:a16="http://schemas.microsoft.com/office/drawing/2014/main" id="{9EAA44FF-B3F4-4760-9CE5-12EA959A3B72}"/>
              </a:ext>
            </a:extLst>
          </p:cNvPr>
          <p:cNvSpPr/>
          <p:nvPr/>
        </p:nvSpPr>
        <p:spPr>
          <a:xfrm>
            <a:off x="4159792" y="2141762"/>
            <a:ext cx="934681" cy="937702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C127ED98-063E-4458-86F8-A3EB56B32905}"/>
              </a:ext>
            </a:extLst>
          </p:cNvPr>
          <p:cNvSpPr/>
          <p:nvPr/>
        </p:nvSpPr>
        <p:spPr bwMode="gray">
          <a:xfrm>
            <a:off x="4248510" y="2230766"/>
            <a:ext cx="757246" cy="759693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600" dirty="0">
              <a:ea typeface="Arial Unicode MS"/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9BC75BAF-AA23-4C21-AECF-82D397314E78}"/>
              </a:ext>
            </a:extLst>
          </p:cNvPr>
          <p:cNvSpPr/>
          <p:nvPr/>
        </p:nvSpPr>
        <p:spPr bwMode="gray">
          <a:xfrm>
            <a:off x="2476739" y="4982069"/>
            <a:ext cx="757246" cy="75969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600" dirty="0">
              <a:ea typeface="Arial Unicode MS"/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D054809D-1EF4-4AB5-BE40-F00ACC071D65}"/>
              </a:ext>
            </a:extLst>
          </p:cNvPr>
          <p:cNvSpPr/>
          <p:nvPr/>
        </p:nvSpPr>
        <p:spPr bwMode="gray">
          <a:xfrm>
            <a:off x="1770116" y="3607251"/>
            <a:ext cx="757246" cy="75969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600" dirty="0">
              <a:ea typeface="Arial Unicode MS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EC8F75F4-0AB6-427E-87D2-F70AA1C31638}"/>
              </a:ext>
            </a:extLst>
          </p:cNvPr>
          <p:cNvSpPr/>
          <p:nvPr/>
        </p:nvSpPr>
        <p:spPr bwMode="gray">
          <a:xfrm>
            <a:off x="4972870" y="3607251"/>
            <a:ext cx="757246" cy="759693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600" dirty="0">
              <a:ea typeface="Arial Unicode MS"/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AF0B4600-E003-47BE-BF0E-9DFEFE7B0B97}"/>
              </a:ext>
            </a:extLst>
          </p:cNvPr>
          <p:cNvSpPr/>
          <p:nvPr/>
        </p:nvSpPr>
        <p:spPr bwMode="gray">
          <a:xfrm>
            <a:off x="4215624" y="5035772"/>
            <a:ext cx="757246" cy="75969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D9D9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600" dirty="0">
              <a:ea typeface="Arial Unicode MS"/>
            </a:endParaRPr>
          </a:p>
        </p:txBody>
      </p:sp>
      <p:sp>
        <p:nvSpPr>
          <p:cNvPr id="42" name="Freihandform 63">
            <a:extLst>
              <a:ext uri="{FF2B5EF4-FFF2-40B4-BE49-F238E27FC236}">
                <a16:creationId xmlns:a16="http://schemas.microsoft.com/office/drawing/2014/main" id="{03929F9A-1209-4467-A67E-CB5F0F4EC870}"/>
              </a:ext>
            </a:extLst>
          </p:cNvPr>
          <p:cNvSpPr/>
          <p:nvPr/>
        </p:nvSpPr>
        <p:spPr>
          <a:xfrm>
            <a:off x="2782511" y="2885288"/>
            <a:ext cx="942487" cy="1079661"/>
          </a:xfrm>
          <a:custGeom>
            <a:avLst/>
            <a:gdLst>
              <a:gd name="connsiteX0" fmla="*/ 1197922 w 1197922"/>
              <a:gd name="connsiteY0" fmla="*/ 0 h 1367851"/>
              <a:gd name="connsiteX1" fmla="*/ 1197922 w 1197922"/>
              <a:gd name="connsiteY1" fmla="*/ 1367851 h 1367851"/>
              <a:gd name="connsiteX2" fmla="*/ 0 w 1197922"/>
              <a:gd name="connsiteY2" fmla="*/ 676230 h 1367851"/>
              <a:gd name="connsiteX3" fmla="*/ 10802 w 1197922"/>
              <a:gd name="connsiteY3" fmla="*/ 657321 h 1367851"/>
              <a:gd name="connsiteX4" fmla="*/ 1069191 w 1197922"/>
              <a:gd name="connsiteY4" fmla="*/ 6405 h 1367851"/>
              <a:gd name="connsiteX5" fmla="*/ 1197922 w 1197922"/>
              <a:gd name="connsiteY5" fmla="*/ 0 h 136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97922" h="1367851">
                <a:moveTo>
                  <a:pt x="1197922" y="0"/>
                </a:moveTo>
                <a:lnTo>
                  <a:pt x="1197922" y="1367851"/>
                </a:lnTo>
                <a:lnTo>
                  <a:pt x="0" y="676230"/>
                </a:lnTo>
                <a:lnTo>
                  <a:pt x="10802" y="657321"/>
                </a:lnTo>
                <a:cubicBezTo>
                  <a:pt x="237039" y="300219"/>
                  <a:pt x="622452" y="51109"/>
                  <a:pt x="1069191" y="6405"/>
                </a:cubicBezTo>
                <a:lnTo>
                  <a:pt x="11979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cs typeface="Segoe UI" panose="020B0502040204020203" pitchFamily="34" charset="0"/>
            </a:endParaRPr>
          </a:p>
        </p:txBody>
      </p:sp>
      <p:sp>
        <p:nvSpPr>
          <p:cNvPr id="43" name="Freihandform 62">
            <a:extLst>
              <a:ext uri="{FF2B5EF4-FFF2-40B4-BE49-F238E27FC236}">
                <a16:creationId xmlns:a16="http://schemas.microsoft.com/office/drawing/2014/main" id="{3976A03C-9706-4E49-8D4F-5503F23201C4}"/>
              </a:ext>
            </a:extLst>
          </p:cNvPr>
          <p:cNvSpPr/>
          <p:nvPr/>
        </p:nvSpPr>
        <p:spPr>
          <a:xfrm>
            <a:off x="3750490" y="2885288"/>
            <a:ext cx="942489" cy="1079662"/>
          </a:xfrm>
          <a:custGeom>
            <a:avLst/>
            <a:gdLst>
              <a:gd name="connsiteX0" fmla="*/ 0 w 1197924"/>
              <a:gd name="connsiteY0" fmla="*/ 0 h 1367853"/>
              <a:gd name="connsiteX1" fmla="*/ 128732 w 1197924"/>
              <a:gd name="connsiteY1" fmla="*/ 6405 h 1367853"/>
              <a:gd name="connsiteX2" fmla="*/ 1187121 w 1197924"/>
              <a:gd name="connsiteY2" fmla="*/ 657321 h 1367853"/>
              <a:gd name="connsiteX3" fmla="*/ 1197924 w 1197924"/>
              <a:gd name="connsiteY3" fmla="*/ 676231 h 1367853"/>
              <a:gd name="connsiteX4" fmla="*/ 0 w 1197924"/>
              <a:gd name="connsiteY4" fmla="*/ 1367853 h 1367853"/>
              <a:gd name="connsiteX5" fmla="*/ 0 w 1197924"/>
              <a:gd name="connsiteY5" fmla="*/ 0 h 1367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97924" h="1367853">
                <a:moveTo>
                  <a:pt x="0" y="0"/>
                </a:moveTo>
                <a:lnTo>
                  <a:pt x="128732" y="6405"/>
                </a:lnTo>
                <a:cubicBezTo>
                  <a:pt x="575471" y="51109"/>
                  <a:pt x="960884" y="300219"/>
                  <a:pt x="1187121" y="657321"/>
                </a:cubicBezTo>
                <a:lnTo>
                  <a:pt x="1197924" y="676231"/>
                </a:lnTo>
                <a:lnTo>
                  <a:pt x="0" y="136785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cs typeface="Segoe UI" panose="020B0502040204020203" pitchFamily="34" charset="0"/>
            </a:endParaRPr>
          </a:p>
        </p:txBody>
      </p:sp>
      <p:sp>
        <p:nvSpPr>
          <p:cNvPr id="46" name="Freihandform 61">
            <a:extLst>
              <a:ext uri="{FF2B5EF4-FFF2-40B4-BE49-F238E27FC236}">
                <a16:creationId xmlns:a16="http://schemas.microsoft.com/office/drawing/2014/main" id="{F8A59F03-E7A5-404D-9F47-B1C4404ED36A}"/>
              </a:ext>
            </a:extLst>
          </p:cNvPr>
          <p:cNvSpPr/>
          <p:nvPr/>
        </p:nvSpPr>
        <p:spPr>
          <a:xfrm>
            <a:off x="2622500" y="3441250"/>
            <a:ext cx="1089755" cy="1091802"/>
          </a:xfrm>
          <a:custGeom>
            <a:avLst/>
            <a:gdLst>
              <a:gd name="connsiteX0" fmla="*/ 187307 w 1385103"/>
              <a:gd name="connsiteY0" fmla="*/ 0 h 1383233"/>
              <a:gd name="connsiteX1" fmla="*/ 1385103 w 1385103"/>
              <a:gd name="connsiteY1" fmla="*/ 691548 h 1383233"/>
              <a:gd name="connsiteX2" fmla="*/ 187070 w 1385103"/>
              <a:gd name="connsiteY2" fmla="*/ 1383233 h 1383233"/>
              <a:gd name="connsiteX3" fmla="*/ 171085 w 1385103"/>
              <a:gd name="connsiteY3" fmla="*/ 1357307 h 1383233"/>
              <a:gd name="connsiteX4" fmla="*/ 0 w 1385103"/>
              <a:gd name="connsiteY4" fmla="*/ 691549 h 1383233"/>
              <a:gd name="connsiteX5" fmla="*/ 151183 w 1385103"/>
              <a:gd name="connsiteY5" fmla="*/ 63232 h 1383233"/>
              <a:gd name="connsiteX6" fmla="*/ 187307 w 1385103"/>
              <a:gd name="connsiteY6" fmla="*/ 0 h 138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5103" h="1383233">
                <a:moveTo>
                  <a:pt x="187307" y="0"/>
                </a:moveTo>
                <a:lnTo>
                  <a:pt x="1385103" y="691548"/>
                </a:lnTo>
                <a:lnTo>
                  <a:pt x="187070" y="1383233"/>
                </a:lnTo>
                <a:lnTo>
                  <a:pt x="171085" y="1357307"/>
                </a:lnTo>
                <a:cubicBezTo>
                  <a:pt x="61977" y="1159402"/>
                  <a:pt x="0" y="932607"/>
                  <a:pt x="0" y="691549"/>
                </a:cubicBezTo>
                <a:cubicBezTo>
                  <a:pt x="0" y="465557"/>
                  <a:pt x="54472" y="252101"/>
                  <a:pt x="151183" y="63232"/>
                </a:cubicBezTo>
                <a:lnTo>
                  <a:pt x="187307" y="0"/>
                </a:lnTo>
                <a:close/>
              </a:path>
            </a:pathLst>
          </a:custGeom>
          <a:solidFill>
            <a:srgbClr val="A0A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cs typeface="Segoe UI" panose="020B0502040204020203" pitchFamily="34" charset="0"/>
            </a:endParaRPr>
          </a:p>
        </p:txBody>
      </p:sp>
      <p:sp>
        <p:nvSpPr>
          <p:cNvPr id="47" name="Freihandform 60">
            <a:extLst>
              <a:ext uri="{FF2B5EF4-FFF2-40B4-BE49-F238E27FC236}">
                <a16:creationId xmlns:a16="http://schemas.microsoft.com/office/drawing/2014/main" id="{B8854368-BFBB-43EB-827F-D17DFD22943E}"/>
              </a:ext>
            </a:extLst>
          </p:cNvPr>
          <p:cNvSpPr/>
          <p:nvPr/>
        </p:nvSpPr>
        <p:spPr>
          <a:xfrm>
            <a:off x="3763237" y="3441250"/>
            <a:ext cx="1089753" cy="1091799"/>
          </a:xfrm>
          <a:custGeom>
            <a:avLst/>
            <a:gdLst>
              <a:gd name="connsiteX0" fmla="*/ 1197794 w 1385100"/>
              <a:gd name="connsiteY0" fmla="*/ 0 h 1383230"/>
              <a:gd name="connsiteX1" fmla="*/ 1233917 w 1385100"/>
              <a:gd name="connsiteY1" fmla="*/ 63231 h 1383230"/>
              <a:gd name="connsiteX2" fmla="*/ 1385100 w 1385100"/>
              <a:gd name="connsiteY2" fmla="*/ 691548 h 1383230"/>
              <a:gd name="connsiteX3" fmla="*/ 1214015 w 1385100"/>
              <a:gd name="connsiteY3" fmla="*/ 1357306 h 1383230"/>
              <a:gd name="connsiteX4" fmla="*/ 1198031 w 1385100"/>
              <a:gd name="connsiteY4" fmla="*/ 1383230 h 1383230"/>
              <a:gd name="connsiteX5" fmla="*/ 0 w 1385100"/>
              <a:gd name="connsiteY5" fmla="*/ 691547 h 1383230"/>
              <a:gd name="connsiteX6" fmla="*/ 1197794 w 1385100"/>
              <a:gd name="connsiteY6" fmla="*/ 0 h 138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5100" h="1383230">
                <a:moveTo>
                  <a:pt x="1197794" y="0"/>
                </a:moveTo>
                <a:lnTo>
                  <a:pt x="1233917" y="63231"/>
                </a:lnTo>
                <a:cubicBezTo>
                  <a:pt x="1330629" y="252100"/>
                  <a:pt x="1385100" y="465556"/>
                  <a:pt x="1385100" y="691548"/>
                </a:cubicBezTo>
                <a:cubicBezTo>
                  <a:pt x="1385100" y="932606"/>
                  <a:pt x="1323123" y="1159401"/>
                  <a:pt x="1214015" y="1357306"/>
                </a:cubicBezTo>
                <a:lnTo>
                  <a:pt x="1198031" y="1383230"/>
                </a:lnTo>
                <a:lnTo>
                  <a:pt x="0" y="691547"/>
                </a:lnTo>
                <a:lnTo>
                  <a:pt x="1197794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cs typeface="Segoe UI" panose="020B0502040204020203" pitchFamily="34" charset="0"/>
            </a:endParaRPr>
          </a:p>
        </p:txBody>
      </p:sp>
      <p:sp>
        <p:nvSpPr>
          <p:cNvPr id="48" name="Freihandform 58">
            <a:extLst>
              <a:ext uri="{FF2B5EF4-FFF2-40B4-BE49-F238E27FC236}">
                <a16:creationId xmlns:a16="http://schemas.microsoft.com/office/drawing/2014/main" id="{37F38A0C-CC82-4B8F-8E3D-9A2DE33301CD}"/>
              </a:ext>
            </a:extLst>
          </p:cNvPr>
          <p:cNvSpPr/>
          <p:nvPr/>
        </p:nvSpPr>
        <p:spPr>
          <a:xfrm>
            <a:off x="3750490" y="4009243"/>
            <a:ext cx="941936" cy="1079664"/>
          </a:xfrm>
          <a:custGeom>
            <a:avLst/>
            <a:gdLst>
              <a:gd name="connsiteX0" fmla="*/ 0 w 1197222"/>
              <a:gd name="connsiteY0" fmla="*/ 0 h 1367855"/>
              <a:gd name="connsiteX1" fmla="*/ 1197222 w 1197222"/>
              <a:gd name="connsiteY1" fmla="*/ 691217 h 1367855"/>
              <a:gd name="connsiteX2" fmla="*/ 1159214 w 1197222"/>
              <a:gd name="connsiteY2" fmla="*/ 752861 h 1367855"/>
              <a:gd name="connsiteX3" fmla="*/ 128732 w 1197222"/>
              <a:gd name="connsiteY3" fmla="*/ 1361449 h 1367855"/>
              <a:gd name="connsiteX4" fmla="*/ 0 w 1197222"/>
              <a:gd name="connsiteY4" fmla="*/ 1367855 h 1367855"/>
              <a:gd name="connsiteX5" fmla="*/ 0 w 1197222"/>
              <a:gd name="connsiteY5" fmla="*/ 0 h 136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97222" h="1367855">
                <a:moveTo>
                  <a:pt x="0" y="0"/>
                </a:moveTo>
                <a:lnTo>
                  <a:pt x="1197222" y="691217"/>
                </a:lnTo>
                <a:lnTo>
                  <a:pt x="1159214" y="752861"/>
                </a:lnTo>
                <a:cubicBezTo>
                  <a:pt x="929954" y="1087238"/>
                  <a:pt x="557602" y="1318533"/>
                  <a:pt x="128732" y="1361449"/>
                </a:cubicBezTo>
                <a:lnTo>
                  <a:pt x="0" y="1367855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cs typeface="Segoe UI" panose="020B0502040204020203" pitchFamily="34" charset="0"/>
            </a:endParaRPr>
          </a:p>
        </p:txBody>
      </p:sp>
      <p:sp>
        <p:nvSpPr>
          <p:cNvPr id="49" name="Freihandform 57">
            <a:extLst>
              <a:ext uri="{FF2B5EF4-FFF2-40B4-BE49-F238E27FC236}">
                <a16:creationId xmlns:a16="http://schemas.microsoft.com/office/drawing/2014/main" id="{B165E2E5-11D8-4529-A3C8-CD64999A2B92}"/>
              </a:ext>
            </a:extLst>
          </p:cNvPr>
          <p:cNvSpPr/>
          <p:nvPr/>
        </p:nvSpPr>
        <p:spPr>
          <a:xfrm>
            <a:off x="2783064" y="4009245"/>
            <a:ext cx="941935" cy="1079503"/>
          </a:xfrm>
          <a:custGeom>
            <a:avLst/>
            <a:gdLst>
              <a:gd name="connsiteX0" fmla="*/ 1197220 w 1197220"/>
              <a:gd name="connsiteY0" fmla="*/ 0 h 1367651"/>
              <a:gd name="connsiteX1" fmla="*/ 1197220 w 1197220"/>
              <a:gd name="connsiteY1" fmla="*/ 1367651 h 1367651"/>
              <a:gd name="connsiteX2" fmla="*/ 1032883 w 1197220"/>
              <a:gd name="connsiteY2" fmla="*/ 1357436 h 1367651"/>
              <a:gd name="connsiteX3" fmla="*/ 38007 w 1197220"/>
              <a:gd name="connsiteY3" fmla="*/ 752858 h 1367651"/>
              <a:gd name="connsiteX4" fmla="*/ 0 w 1197220"/>
              <a:gd name="connsiteY4" fmla="*/ 691215 h 1367651"/>
              <a:gd name="connsiteX5" fmla="*/ 1197220 w 1197220"/>
              <a:gd name="connsiteY5" fmla="*/ 0 h 1367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97220" h="1367651">
                <a:moveTo>
                  <a:pt x="1197220" y="0"/>
                </a:moveTo>
                <a:lnTo>
                  <a:pt x="1197220" y="1367651"/>
                </a:lnTo>
                <a:lnTo>
                  <a:pt x="1032883" y="1357436"/>
                </a:lnTo>
                <a:cubicBezTo>
                  <a:pt x="619044" y="1305602"/>
                  <a:pt x="260900" y="1077947"/>
                  <a:pt x="38007" y="752858"/>
                </a:cubicBezTo>
                <a:lnTo>
                  <a:pt x="0" y="691215"/>
                </a:lnTo>
                <a:lnTo>
                  <a:pt x="1197220" y="0"/>
                </a:lnTo>
                <a:close/>
              </a:path>
            </a:pathLst>
          </a:custGeom>
          <a:solidFill>
            <a:srgbClr val="BFBFB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cs typeface="Segoe UI" panose="020B0502040204020203" pitchFamily="34" charset="0"/>
            </a:endParaRPr>
          </a:p>
        </p:txBody>
      </p:sp>
      <p:sp>
        <p:nvSpPr>
          <p:cNvPr id="50" name="Ellipse 23">
            <a:extLst>
              <a:ext uri="{FF2B5EF4-FFF2-40B4-BE49-F238E27FC236}">
                <a16:creationId xmlns:a16="http://schemas.microsoft.com/office/drawing/2014/main" id="{DFCE21AD-1405-4CA1-9490-DAA53B71CAC7}"/>
              </a:ext>
            </a:extLst>
          </p:cNvPr>
          <p:cNvSpPr>
            <a:spLocks/>
          </p:cNvSpPr>
          <p:nvPr/>
        </p:nvSpPr>
        <p:spPr bwMode="gray">
          <a:xfrm>
            <a:off x="2778989" y="3025710"/>
            <a:ext cx="1917512" cy="1922775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lIns="0" tIns="35981" rIns="0" bIns="0" numCol="1" spcCol="72000" rtlCol="0" anchor="ctr">
            <a:noAutofit/>
          </a:bodyPr>
          <a:lstStyle/>
          <a:p>
            <a:pPr algn="ctr"/>
            <a:endParaRPr lang="en-US" sz="1600" b="1" dirty="0">
              <a:solidFill>
                <a:srgbClr val="FFFFFF"/>
              </a:solidFill>
              <a:ea typeface="Arial Unicode MS"/>
            </a:endParaRPr>
          </a:p>
        </p:txBody>
      </p:sp>
      <p:sp>
        <p:nvSpPr>
          <p:cNvPr id="51" name="Ellipse 24">
            <a:extLst>
              <a:ext uri="{FF2B5EF4-FFF2-40B4-BE49-F238E27FC236}">
                <a16:creationId xmlns:a16="http://schemas.microsoft.com/office/drawing/2014/main" id="{0B0F826C-18A8-46F1-9B26-DE3605367A37}"/>
              </a:ext>
            </a:extLst>
          </p:cNvPr>
          <p:cNvSpPr>
            <a:spLocks/>
          </p:cNvSpPr>
          <p:nvPr/>
        </p:nvSpPr>
        <p:spPr bwMode="gray">
          <a:xfrm>
            <a:off x="2920607" y="3167318"/>
            <a:ext cx="1634275" cy="1639558"/>
          </a:xfrm>
          <a:prstGeom prst="ellipse">
            <a:avLst/>
          </a:prstGeom>
          <a:solidFill>
            <a:srgbClr val="BFBFBF"/>
          </a:solidFill>
          <a:ln>
            <a:noFill/>
          </a:ln>
          <a:effectLst/>
        </p:spPr>
        <p:txBody>
          <a:bodyPr wrap="none" lIns="0" tIns="35981" rIns="0" bIns="0" numCol="1" spcCol="72000" rtlCol="0" anchor="ctr">
            <a:noAutofit/>
          </a:bodyPr>
          <a:lstStyle/>
          <a:p>
            <a:pPr algn="ctr"/>
            <a:r>
              <a:rPr lang="en-US" sz="1999" dirty="0">
                <a:solidFill>
                  <a:srgbClr val="FFFFFF"/>
                </a:solidFill>
                <a:ea typeface="Arial Unicode MS"/>
              </a:rPr>
              <a:t>Landslide </a:t>
            </a:r>
          </a:p>
          <a:p>
            <a:pPr algn="ctr"/>
            <a:r>
              <a:rPr lang="en-US" sz="1999" dirty="0">
                <a:solidFill>
                  <a:srgbClr val="FFFFFF"/>
                </a:solidFill>
                <a:ea typeface="Arial Unicode MS"/>
              </a:rPr>
              <a:t>Prediction </a:t>
            </a:r>
          </a:p>
          <a:p>
            <a:pPr algn="ctr"/>
            <a:r>
              <a:rPr lang="en-US" sz="1999" dirty="0">
                <a:solidFill>
                  <a:srgbClr val="FFFFFF"/>
                </a:solidFill>
                <a:ea typeface="Arial Unicode MS"/>
              </a:rPr>
              <a:t>Model</a:t>
            </a:r>
          </a:p>
        </p:txBody>
      </p:sp>
      <p:cxnSp>
        <p:nvCxnSpPr>
          <p:cNvPr id="52" name="Gerade Verbindung 37">
            <a:extLst>
              <a:ext uri="{FF2B5EF4-FFF2-40B4-BE49-F238E27FC236}">
                <a16:creationId xmlns:a16="http://schemas.microsoft.com/office/drawing/2014/main" id="{B55EA60E-5E67-4A72-88B9-B83EF13255C5}"/>
              </a:ext>
            </a:extLst>
          </p:cNvPr>
          <p:cNvCxnSpPr/>
          <p:nvPr/>
        </p:nvCxnSpPr>
        <p:spPr bwMode="gray">
          <a:xfrm flipV="1">
            <a:off x="2527361" y="3987097"/>
            <a:ext cx="145611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38">
            <a:extLst>
              <a:ext uri="{FF2B5EF4-FFF2-40B4-BE49-F238E27FC236}">
                <a16:creationId xmlns:a16="http://schemas.microsoft.com/office/drawing/2014/main" id="{4774E05C-3BBE-45F2-93D8-BD3EF0D3E923}"/>
              </a:ext>
            </a:extLst>
          </p:cNvPr>
          <p:cNvCxnSpPr/>
          <p:nvPr/>
        </p:nvCxnSpPr>
        <p:spPr bwMode="gray">
          <a:xfrm flipV="1">
            <a:off x="4830633" y="3987097"/>
            <a:ext cx="145611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39">
            <a:extLst>
              <a:ext uri="{FF2B5EF4-FFF2-40B4-BE49-F238E27FC236}">
                <a16:creationId xmlns:a16="http://schemas.microsoft.com/office/drawing/2014/main" id="{11B9AF56-B466-444E-A54E-CA01A94E3629}"/>
              </a:ext>
            </a:extLst>
          </p:cNvPr>
          <p:cNvCxnSpPr/>
          <p:nvPr/>
        </p:nvCxnSpPr>
        <p:spPr bwMode="gray">
          <a:xfrm>
            <a:off x="3041652" y="2942537"/>
            <a:ext cx="110897" cy="146506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40">
            <a:extLst>
              <a:ext uri="{FF2B5EF4-FFF2-40B4-BE49-F238E27FC236}">
                <a16:creationId xmlns:a16="http://schemas.microsoft.com/office/drawing/2014/main" id="{F6460BDA-8805-479E-8B89-7393A0F3FE8E}"/>
              </a:ext>
            </a:extLst>
          </p:cNvPr>
          <p:cNvCxnSpPr/>
          <p:nvPr/>
        </p:nvCxnSpPr>
        <p:spPr bwMode="gray">
          <a:xfrm flipH="1">
            <a:off x="4319562" y="2942537"/>
            <a:ext cx="110897" cy="146506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 Verbindung 41">
            <a:extLst>
              <a:ext uri="{FF2B5EF4-FFF2-40B4-BE49-F238E27FC236}">
                <a16:creationId xmlns:a16="http://schemas.microsoft.com/office/drawing/2014/main" id="{7954D410-4F0E-4590-9C78-A046629BA572}"/>
              </a:ext>
            </a:extLst>
          </p:cNvPr>
          <p:cNvCxnSpPr/>
          <p:nvPr/>
        </p:nvCxnSpPr>
        <p:spPr bwMode="gray">
          <a:xfrm flipV="1">
            <a:off x="3041652" y="4886358"/>
            <a:ext cx="110897" cy="146506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42">
            <a:extLst>
              <a:ext uri="{FF2B5EF4-FFF2-40B4-BE49-F238E27FC236}">
                <a16:creationId xmlns:a16="http://schemas.microsoft.com/office/drawing/2014/main" id="{BC0CEC6F-C005-4DFA-B046-3042410C0A0E}"/>
              </a:ext>
            </a:extLst>
          </p:cNvPr>
          <p:cNvCxnSpPr/>
          <p:nvPr/>
        </p:nvCxnSpPr>
        <p:spPr bwMode="gray">
          <a:xfrm flipH="1" flipV="1">
            <a:off x="4319562" y="4886358"/>
            <a:ext cx="110897" cy="146506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11">
            <a:extLst>
              <a:ext uri="{FF2B5EF4-FFF2-40B4-BE49-F238E27FC236}">
                <a16:creationId xmlns:a16="http://schemas.microsoft.com/office/drawing/2014/main" id="{B558B597-0CBC-469A-9BA4-806A6AB3DD28}"/>
              </a:ext>
            </a:extLst>
          </p:cNvPr>
          <p:cNvSpPr txBox="1"/>
          <p:nvPr/>
        </p:nvSpPr>
        <p:spPr bwMode="gray">
          <a:xfrm>
            <a:off x="240089" y="2333613"/>
            <a:ext cx="2115166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0"/>
              </a:spcBef>
              <a:buClr>
                <a:srgbClr val="3C464B"/>
              </a:buClr>
            </a:pPr>
            <a:r>
              <a:rPr lang="en-US" dirty="0">
                <a:solidFill>
                  <a:schemeClr val="tx1"/>
                </a:solidFill>
                <a:ea typeface="Arial Unicode MS"/>
              </a:rPr>
              <a:t>Integration in existing warning systems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73814FE-A0FC-41D1-B7BF-65EA3B44EB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76037" y="2370667"/>
            <a:ext cx="502192" cy="50219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1E02339-1C93-4877-B2F8-08690C4FC5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22699" y="3747153"/>
            <a:ext cx="502192" cy="50219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C266F3F-AF1D-4986-BE58-D2363FC9CA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59541" y="5194966"/>
            <a:ext cx="502192" cy="50219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E77375A-6C67-4D2E-BEBF-6B79CA662D5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04265" y="5121971"/>
            <a:ext cx="502192" cy="502192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AFABBEF-B490-455B-8041-E7FA8845CF7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97643" y="3747153"/>
            <a:ext cx="502192" cy="50219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47A0011-957A-4A84-A2FC-227850E7CA4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04266" y="2359516"/>
            <a:ext cx="502192" cy="502192"/>
          </a:xfrm>
          <a:prstGeom prst="rect">
            <a:avLst/>
          </a:prstGeom>
        </p:spPr>
      </p:pic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E6E9D540-BA2B-4E21-A9D2-612A31DFA98B}"/>
              </a:ext>
            </a:extLst>
          </p:cNvPr>
          <p:cNvSpPr txBox="1">
            <a:spLocks/>
          </p:cNvSpPr>
          <p:nvPr/>
        </p:nvSpPr>
        <p:spPr>
          <a:xfrm>
            <a:off x="582687" y="6241829"/>
            <a:ext cx="3600000" cy="2154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solidFill>
                  <a:srgbClr val="000000"/>
                </a:solidFill>
              </a:rPr>
              <a:t>SOP = Standard Operating Procedures</a:t>
            </a:r>
          </a:p>
        </p:txBody>
      </p:sp>
    </p:spTree>
    <p:extLst>
      <p:ext uri="{BB962C8B-B14F-4D97-AF65-F5344CB8AC3E}">
        <p14:creationId xmlns:p14="http://schemas.microsoft.com/office/powerpoint/2010/main" val="3327027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C0FFBE0-9B8F-4C70-BDCE-F4571F1531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5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C0FFBE0-9B8F-4C70-BDCE-F4571F153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D60D1EDE-7116-2443-9BDD-368CE5B37660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7" name="Flussdiagramm: Verbinder 26">
            <a:extLst>
              <a:ext uri="{FF2B5EF4-FFF2-40B4-BE49-F238E27FC236}">
                <a16:creationId xmlns:a16="http://schemas.microsoft.com/office/drawing/2014/main" id="{90F10736-9074-4E3C-9671-BCF905605E3F}"/>
              </a:ext>
            </a:extLst>
          </p:cNvPr>
          <p:cNvSpPr/>
          <p:nvPr/>
        </p:nvSpPr>
        <p:spPr>
          <a:xfrm>
            <a:off x="498594" y="1483728"/>
            <a:ext cx="1044000" cy="1044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Freeform 156"/>
          <p:cNvSpPr/>
          <p:nvPr/>
        </p:nvSpPr>
        <p:spPr>
          <a:xfrm flipH="1">
            <a:off x="-1" y="0"/>
            <a:ext cx="5702400" cy="6858000"/>
          </a:xfrm>
          <a:custGeom>
            <a:avLst/>
            <a:gdLst>
              <a:gd name="connsiteX0" fmla="*/ 2483124 w 5460510"/>
              <a:gd name="connsiteY0" fmla="*/ 0 h 5143500"/>
              <a:gd name="connsiteX1" fmla="*/ 3771407 w 5460510"/>
              <a:gd name="connsiteY1" fmla="*/ 0 h 5143500"/>
              <a:gd name="connsiteX2" fmla="*/ 4717679 w 5460510"/>
              <a:gd name="connsiteY2" fmla="*/ 0 h 5143500"/>
              <a:gd name="connsiteX3" fmla="*/ 5460510 w 5460510"/>
              <a:gd name="connsiteY3" fmla="*/ 0 h 5143500"/>
              <a:gd name="connsiteX4" fmla="*/ 5460510 w 5460510"/>
              <a:gd name="connsiteY4" fmla="*/ 5143500 h 5143500"/>
              <a:gd name="connsiteX5" fmla="*/ 4717679 w 5460510"/>
              <a:gd name="connsiteY5" fmla="*/ 5143500 h 5143500"/>
              <a:gd name="connsiteX6" fmla="*/ 3771407 w 5460510"/>
              <a:gd name="connsiteY6" fmla="*/ 5143500 h 5143500"/>
              <a:gd name="connsiteX7" fmla="*/ 0 w 546051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60510" h="5143500">
                <a:moveTo>
                  <a:pt x="2483124" y="0"/>
                </a:moveTo>
                <a:lnTo>
                  <a:pt x="3771407" y="0"/>
                </a:lnTo>
                <a:lnTo>
                  <a:pt x="4717679" y="0"/>
                </a:lnTo>
                <a:lnTo>
                  <a:pt x="5460510" y="0"/>
                </a:lnTo>
                <a:lnTo>
                  <a:pt x="5460510" y="5143500"/>
                </a:lnTo>
                <a:lnTo>
                  <a:pt x="4717679" y="5143500"/>
                </a:lnTo>
                <a:lnTo>
                  <a:pt x="3771407" y="5143500"/>
                </a:lnTo>
                <a:lnTo>
                  <a:pt x="0" y="5143500"/>
                </a:lnTo>
                <a:close/>
              </a:path>
            </a:pathLst>
          </a:custGeom>
          <a:blipFill dpi="0" rotWithShape="1">
            <a:blip r:embed="rId10"/>
            <a:srcRect/>
            <a:stretch>
              <a:fillRect l="-28000" r="-16000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Freeform 29">
            <a:extLst>
              <a:ext uri="{FF2B5EF4-FFF2-40B4-BE49-F238E27FC236}">
                <a16:creationId xmlns:a16="http://schemas.microsoft.com/office/drawing/2014/main" id="{73207071-CE2E-4CF5-B2FB-00B1084D1089}"/>
              </a:ext>
            </a:extLst>
          </p:cNvPr>
          <p:cNvSpPr/>
          <p:nvPr/>
        </p:nvSpPr>
        <p:spPr>
          <a:xfrm>
            <a:off x="4523280" y="2141763"/>
            <a:ext cx="2926773" cy="1703560"/>
          </a:xfrm>
          <a:custGeom>
            <a:avLst/>
            <a:gdLst>
              <a:gd name="connsiteX0" fmla="*/ 1095152 w 2708841"/>
              <a:gd name="connsiteY0" fmla="*/ 0 h 1576710"/>
              <a:gd name="connsiteX1" fmla="*/ 2686223 w 2708841"/>
              <a:gd name="connsiteY1" fmla="*/ 1170561 h 1576710"/>
              <a:gd name="connsiteX2" fmla="*/ 2708841 w 2708841"/>
              <a:gd name="connsiteY2" fmla="*/ 1258528 h 1576710"/>
              <a:gd name="connsiteX3" fmla="*/ 1198572 w 2708841"/>
              <a:gd name="connsiteY3" fmla="*/ 992227 h 1576710"/>
              <a:gd name="connsiteX4" fmla="*/ 1197930 w 2708841"/>
              <a:gd name="connsiteY4" fmla="*/ 995869 h 1576710"/>
              <a:gd name="connsiteX5" fmla="*/ 1095152 w 2708841"/>
              <a:gd name="connsiteY5" fmla="*/ 985508 h 1576710"/>
              <a:gd name="connsiteX6" fmla="*/ 428515 w 2708841"/>
              <a:gd name="connsiteY6" fmla="*/ 1528833 h 1576710"/>
              <a:gd name="connsiteX7" fmla="*/ 423688 w 2708841"/>
              <a:gd name="connsiteY7" fmla="*/ 1576710 h 1576710"/>
              <a:gd name="connsiteX8" fmla="*/ 0 w 2708841"/>
              <a:gd name="connsiteY8" fmla="*/ 412637 h 1576710"/>
              <a:gd name="connsiteX9" fmla="*/ 35441 w 2708841"/>
              <a:gd name="connsiteY9" fmla="*/ 380427 h 1576710"/>
              <a:gd name="connsiteX10" fmla="*/ 1095152 w 2708841"/>
              <a:gd name="connsiteY10" fmla="*/ 0 h 157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08841" h="1576710">
                <a:moveTo>
                  <a:pt x="1095152" y="0"/>
                </a:moveTo>
                <a:cubicBezTo>
                  <a:pt x="1842724" y="0"/>
                  <a:pt x="2475292" y="492398"/>
                  <a:pt x="2686223" y="1170561"/>
                </a:cubicBezTo>
                <a:lnTo>
                  <a:pt x="2708841" y="1258528"/>
                </a:lnTo>
                <a:lnTo>
                  <a:pt x="1198572" y="992227"/>
                </a:lnTo>
                <a:lnTo>
                  <a:pt x="1197930" y="995869"/>
                </a:lnTo>
                <a:lnTo>
                  <a:pt x="1095152" y="985508"/>
                </a:lnTo>
                <a:cubicBezTo>
                  <a:pt x="766319" y="985508"/>
                  <a:pt x="491965" y="1218758"/>
                  <a:pt x="428515" y="1528833"/>
                </a:cubicBezTo>
                <a:lnTo>
                  <a:pt x="423688" y="1576710"/>
                </a:lnTo>
                <a:lnTo>
                  <a:pt x="0" y="412637"/>
                </a:lnTo>
                <a:lnTo>
                  <a:pt x="35441" y="380427"/>
                </a:lnTo>
                <a:cubicBezTo>
                  <a:pt x="323419" y="142766"/>
                  <a:pt x="692613" y="0"/>
                  <a:pt x="1095152" y="0"/>
                </a:cubicBez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cs typeface="Segoe UI" panose="020B0502040204020203" pitchFamily="34" charset="0"/>
            </a:endParaRPr>
          </a:p>
        </p:txBody>
      </p:sp>
      <p:sp>
        <p:nvSpPr>
          <p:cNvPr id="12" name="Freeform 28">
            <a:extLst>
              <a:ext uri="{FF2B5EF4-FFF2-40B4-BE49-F238E27FC236}">
                <a16:creationId xmlns:a16="http://schemas.microsoft.com/office/drawing/2014/main" id="{09CF075F-766D-40A1-89E9-39C22CBC05F0}"/>
              </a:ext>
            </a:extLst>
          </p:cNvPr>
          <p:cNvSpPr/>
          <p:nvPr/>
        </p:nvSpPr>
        <p:spPr>
          <a:xfrm>
            <a:off x="3906540" y="2641611"/>
            <a:ext cx="2095235" cy="3005880"/>
          </a:xfrm>
          <a:custGeom>
            <a:avLst/>
            <a:gdLst>
              <a:gd name="connsiteX0" fmla="*/ 515814 w 1939220"/>
              <a:gd name="connsiteY0" fmla="*/ 0 h 2782057"/>
              <a:gd name="connsiteX1" fmla="*/ 997655 w 1939220"/>
              <a:gd name="connsiteY1" fmla="*/ 1323848 h 2782057"/>
              <a:gd name="connsiteX2" fmla="*/ 999332 w 1939220"/>
              <a:gd name="connsiteY2" fmla="*/ 1340478 h 2782057"/>
              <a:gd name="connsiteX3" fmla="*/ 1665969 w 1939220"/>
              <a:gd name="connsiteY3" fmla="*/ 1883802 h 2782057"/>
              <a:gd name="connsiteX4" fmla="*/ 1930836 w 1939220"/>
              <a:gd name="connsiteY4" fmla="*/ 1830328 h 2782057"/>
              <a:gd name="connsiteX5" fmla="*/ 1939220 w 1939220"/>
              <a:gd name="connsiteY5" fmla="*/ 1825777 h 2782057"/>
              <a:gd name="connsiteX6" fmla="*/ 1136806 w 1939220"/>
              <a:gd name="connsiteY6" fmla="*/ 2782057 h 2782057"/>
              <a:gd name="connsiteX7" fmla="*/ 1017499 w 1939220"/>
              <a:gd name="connsiteY7" fmla="*/ 2738390 h 2782057"/>
              <a:gd name="connsiteX8" fmla="*/ 0 w 1939220"/>
              <a:gd name="connsiteY8" fmla="*/ 1203341 h 2782057"/>
              <a:gd name="connsiteX9" fmla="*/ 487951 w 1939220"/>
              <a:gd name="connsiteY9" fmla="*/ 25323 h 2782057"/>
              <a:gd name="connsiteX10" fmla="*/ 515814 w 1939220"/>
              <a:gd name="connsiteY10" fmla="*/ 0 h 2782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39220" h="2782057">
                <a:moveTo>
                  <a:pt x="515814" y="0"/>
                </a:moveTo>
                <a:lnTo>
                  <a:pt x="997655" y="1323848"/>
                </a:lnTo>
                <a:lnTo>
                  <a:pt x="999332" y="1340478"/>
                </a:lnTo>
                <a:cubicBezTo>
                  <a:pt x="1062782" y="1650552"/>
                  <a:pt x="1337136" y="1883802"/>
                  <a:pt x="1665969" y="1883802"/>
                </a:cubicBezTo>
                <a:cubicBezTo>
                  <a:pt x="1759921" y="1883802"/>
                  <a:pt x="1849426" y="1864761"/>
                  <a:pt x="1930836" y="1830328"/>
                </a:cubicBezTo>
                <a:lnTo>
                  <a:pt x="1939220" y="1825777"/>
                </a:lnTo>
                <a:lnTo>
                  <a:pt x="1136806" y="2782057"/>
                </a:lnTo>
                <a:lnTo>
                  <a:pt x="1017499" y="2738390"/>
                </a:lnTo>
                <a:cubicBezTo>
                  <a:pt x="419558" y="2485482"/>
                  <a:pt x="0" y="1893408"/>
                  <a:pt x="0" y="1203341"/>
                </a:cubicBezTo>
                <a:cubicBezTo>
                  <a:pt x="0" y="743297"/>
                  <a:pt x="186470" y="326804"/>
                  <a:pt x="487951" y="25323"/>
                </a:cubicBezTo>
                <a:lnTo>
                  <a:pt x="51581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cs typeface="Segoe UI" panose="020B0502040204020203" pitchFamily="34" charset="0"/>
            </a:endParaRPr>
          </a:p>
        </p:txBody>
      </p:sp>
      <p:sp>
        <p:nvSpPr>
          <p:cNvPr id="13" name="Freeform 27">
            <a:extLst>
              <a:ext uri="{FF2B5EF4-FFF2-40B4-BE49-F238E27FC236}">
                <a16:creationId xmlns:a16="http://schemas.microsoft.com/office/drawing/2014/main" id="{F5EBBD0F-4FE8-4653-9254-9180526A358B}"/>
              </a:ext>
            </a:extLst>
          </p:cNvPr>
          <p:cNvSpPr/>
          <p:nvPr/>
        </p:nvSpPr>
        <p:spPr>
          <a:xfrm>
            <a:off x="5211863" y="3344762"/>
            <a:ext cx="2294677" cy="2397001"/>
          </a:xfrm>
          <a:custGeom>
            <a:avLst/>
            <a:gdLst>
              <a:gd name="connsiteX0" fmla="*/ 852477 w 2123812"/>
              <a:gd name="connsiteY0" fmla="*/ 0 h 2218517"/>
              <a:gd name="connsiteX1" fmla="*/ 2090186 w 2123812"/>
              <a:gd name="connsiteY1" fmla="*/ 218241 h 2218517"/>
              <a:gd name="connsiteX2" fmla="*/ 2115211 w 2123812"/>
              <a:gd name="connsiteY2" fmla="*/ 382212 h 2218517"/>
              <a:gd name="connsiteX3" fmla="*/ 2123812 w 2123812"/>
              <a:gd name="connsiteY3" fmla="*/ 552548 h 2218517"/>
              <a:gd name="connsiteX4" fmla="*/ 457843 w 2123812"/>
              <a:gd name="connsiteY4" fmla="*/ 2218517 h 2218517"/>
              <a:gd name="connsiteX5" fmla="*/ 122092 w 2123812"/>
              <a:gd name="connsiteY5" fmla="*/ 2184671 h 2218517"/>
              <a:gd name="connsiteX6" fmla="*/ 0 w 2123812"/>
              <a:gd name="connsiteY6" fmla="*/ 2153278 h 2218517"/>
              <a:gd name="connsiteX7" fmla="*/ 1004341 w 2123812"/>
              <a:gd name="connsiteY7" fmla="*/ 956350 h 2218517"/>
              <a:gd name="connsiteX8" fmla="*/ 1003447 w 2123812"/>
              <a:gd name="connsiteY8" fmla="*/ 955600 h 2218517"/>
              <a:gd name="connsiteX9" fmla="*/ 1022093 w 2123812"/>
              <a:gd name="connsiteY9" fmla="*/ 933000 h 2218517"/>
              <a:gd name="connsiteX10" fmla="*/ 1138305 w 2123812"/>
              <a:gd name="connsiteY10" fmla="*/ 552548 h 2218517"/>
              <a:gd name="connsiteX11" fmla="*/ 939003 w 2123812"/>
              <a:gd name="connsiteY11" fmla="*/ 71390 h 2218517"/>
              <a:gd name="connsiteX12" fmla="*/ 852477 w 2123812"/>
              <a:gd name="connsiteY12" fmla="*/ 0 h 221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23812" h="2218517">
                <a:moveTo>
                  <a:pt x="852477" y="0"/>
                </a:moveTo>
                <a:lnTo>
                  <a:pt x="2090186" y="218241"/>
                </a:lnTo>
                <a:lnTo>
                  <a:pt x="2115211" y="382212"/>
                </a:lnTo>
                <a:cubicBezTo>
                  <a:pt x="2120899" y="438218"/>
                  <a:pt x="2123812" y="495043"/>
                  <a:pt x="2123812" y="552548"/>
                </a:cubicBezTo>
                <a:cubicBezTo>
                  <a:pt x="2123812" y="1472637"/>
                  <a:pt x="1377932" y="2218517"/>
                  <a:pt x="457843" y="2218517"/>
                </a:cubicBezTo>
                <a:cubicBezTo>
                  <a:pt x="342832" y="2218517"/>
                  <a:pt x="230543" y="2206863"/>
                  <a:pt x="122092" y="2184671"/>
                </a:cubicBezTo>
                <a:lnTo>
                  <a:pt x="0" y="2153278"/>
                </a:lnTo>
                <a:lnTo>
                  <a:pt x="1004341" y="956350"/>
                </a:lnTo>
                <a:lnTo>
                  <a:pt x="1003447" y="955600"/>
                </a:lnTo>
                <a:lnTo>
                  <a:pt x="1022093" y="933000"/>
                </a:lnTo>
                <a:cubicBezTo>
                  <a:pt x="1095463" y="824398"/>
                  <a:pt x="1138305" y="693476"/>
                  <a:pt x="1138305" y="552548"/>
                </a:cubicBezTo>
                <a:cubicBezTo>
                  <a:pt x="1138305" y="364644"/>
                  <a:pt x="1062142" y="194529"/>
                  <a:pt x="939003" y="71390"/>
                </a:cubicBezTo>
                <a:lnTo>
                  <a:pt x="852477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cs typeface="Segoe UI" panose="020B0502040204020203" pitchFamily="34" charset="0"/>
            </a:endParaRPr>
          </a:p>
        </p:txBody>
      </p:sp>
      <p:sp>
        <p:nvSpPr>
          <p:cNvPr id="14" name="Freeform 817">
            <a:extLst>
              <a:ext uri="{FF2B5EF4-FFF2-40B4-BE49-F238E27FC236}">
                <a16:creationId xmlns:a16="http://schemas.microsoft.com/office/drawing/2014/main" id="{93BA3424-D4AC-4818-AAB6-8F566428FCB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355337" y="4333034"/>
            <a:ext cx="626863" cy="634796"/>
          </a:xfrm>
          <a:custGeom>
            <a:avLst/>
            <a:gdLst>
              <a:gd name="T0" fmla="*/ 502 w 502"/>
              <a:gd name="T1" fmla="*/ 288 h 502"/>
              <a:gd name="T2" fmla="*/ 493 w 502"/>
              <a:gd name="T3" fmla="*/ 299 h 502"/>
              <a:gd name="T4" fmla="*/ 432 w 502"/>
              <a:gd name="T5" fmla="*/ 309 h 502"/>
              <a:gd name="T6" fmla="*/ 420 w 502"/>
              <a:gd name="T7" fmla="*/ 338 h 502"/>
              <a:gd name="T8" fmla="*/ 455 w 502"/>
              <a:gd name="T9" fmla="*/ 383 h 502"/>
              <a:gd name="T10" fmla="*/ 458 w 502"/>
              <a:gd name="T11" fmla="*/ 392 h 502"/>
              <a:gd name="T12" fmla="*/ 455 w 502"/>
              <a:gd name="T13" fmla="*/ 399 h 502"/>
              <a:gd name="T14" fmla="*/ 392 w 502"/>
              <a:gd name="T15" fmla="*/ 458 h 502"/>
              <a:gd name="T16" fmla="*/ 383 w 502"/>
              <a:gd name="T17" fmla="*/ 455 h 502"/>
              <a:gd name="T18" fmla="*/ 338 w 502"/>
              <a:gd name="T19" fmla="*/ 419 h 502"/>
              <a:gd name="T20" fmla="*/ 308 w 502"/>
              <a:gd name="T21" fmla="*/ 432 h 502"/>
              <a:gd name="T22" fmla="*/ 299 w 502"/>
              <a:gd name="T23" fmla="*/ 493 h 502"/>
              <a:gd name="T24" fmla="*/ 287 w 502"/>
              <a:gd name="T25" fmla="*/ 502 h 502"/>
              <a:gd name="T26" fmla="*/ 215 w 502"/>
              <a:gd name="T27" fmla="*/ 502 h 502"/>
              <a:gd name="T28" fmla="*/ 203 w 502"/>
              <a:gd name="T29" fmla="*/ 492 h 502"/>
              <a:gd name="T30" fmla="*/ 194 w 502"/>
              <a:gd name="T31" fmla="*/ 432 h 502"/>
              <a:gd name="T32" fmla="*/ 164 w 502"/>
              <a:gd name="T33" fmla="*/ 420 h 502"/>
              <a:gd name="T34" fmla="*/ 118 w 502"/>
              <a:gd name="T35" fmla="*/ 455 h 502"/>
              <a:gd name="T36" fmla="*/ 110 w 502"/>
              <a:gd name="T37" fmla="*/ 458 h 502"/>
              <a:gd name="T38" fmla="*/ 102 w 502"/>
              <a:gd name="T39" fmla="*/ 454 h 502"/>
              <a:gd name="T40" fmla="*/ 48 w 502"/>
              <a:gd name="T41" fmla="*/ 399 h 502"/>
              <a:gd name="T42" fmla="*/ 46 w 502"/>
              <a:gd name="T43" fmla="*/ 392 h 502"/>
              <a:gd name="T44" fmla="*/ 48 w 502"/>
              <a:gd name="T45" fmla="*/ 384 h 502"/>
              <a:gd name="T46" fmla="*/ 83 w 502"/>
              <a:gd name="T47" fmla="*/ 339 h 502"/>
              <a:gd name="T48" fmla="*/ 69 w 502"/>
              <a:gd name="T49" fmla="*/ 307 h 502"/>
              <a:gd name="T50" fmla="*/ 10 w 502"/>
              <a:gd name="T51" fmla="*/ 298 h 502"/>
              <a:gd name="T52" fmla="*/ 0 w 502"/>
              <a:gd name="T53" fmla="*/ 286 h 502"/>
              <a:gd name="T54" fmla="*/ 0 w 502"/>
              <a:gd name="T55" fmla="*/ 214 h 502"/>
              <a:gd name="T56" fmla="*/ 9 w 502"/>
              <a:gd name="T57" fmla="*/ 202 h 502"/>
              <a:gd name="T58" fmla="*/ 70 w 502"/>
              <a:gd name="T59" fmla="*/ 193 h 502"/>
              <a:gd name="T60" fmla="*/ 82 w 502"/>
              <a:gd name="T61" fmla="*/ 163 h 502"/>
              <a:gd name="T62" fmla="*/ 47 w 502"/>
              <a:gd name="T63" fmla="*/ 118 h 502"/>
              <a:gd name="T64" fmla="*/ 44 w 502"/>
              <a:gd name="T65" fmla="*/ 110 h 502"/>
              <a:gd name="T66" fmla="*/ 47 w 502"/>
              <a:gd name="T67" fmla="*/ 102 h 502"/>
              <a:gd name="T68" fmla="*/ 110 w 502"/>
              <a:gd name="T69" fmla="*/ 44 h 502"/>
              <a:gd name="T70" fmla="*/ 119 w 502"/>
              <a:gd name="T71" fmla="*/ 47 h 502"/>
              <a:gd name="T72" fmla="*/ 164 w 502"/>
              <a:gd name="T73" fmla="*/ 82 h 502"/>
              <a:gd name="T74" fmla="*/ 193 w 502"/>
              <a:gd name="T75" fmla="*/ 70 h 502"/>
              <a:gd name="T76" fmla="*/ 203 w 502"/>
              <a:gd name="T77" fmla="*/ 9 h 502"/>
              <a:gd name="T78" fmla="*/ 215 w 502"/>
              <a:gd name="T79" fmla="*/ 0 h 502"/>
              <a:gd name="T80" fmla="*/ 287 w 502"/>
              <a:gd name="T81" fmla="*/ 0 h 502"/>
              <a:gd name="T82" fmla="*/ 299 w 502"/>
              <a:gd name="T83" fmla="*/ 10 h 502"/>
              <a:gd name="T84" fmla="*/ 308 w 502"/>
              <a:gd name="T85" fmla="*/ 70 h 502"/>
              <a:gd name="T86" fmla="*/ 338 w 502"/>
              <a:gd name="T87" fmla="*/ 82 h 502"/>
              <a:gd name="T88" fmla="*/ 384 w 502"/>
              <a:gd name="T89" fmla="*/ 47 h 502"/>
              <a:gd name="T90" fmla="*/ 392 w 502"/>
              <a:gd name="T91" fmla="*/ 44 h 502"/>
              <a:gd name="T92" fmla="*/ 400 w 502"/>
              <a:gd name="T93" fmla="*/ 47 h 502"/>
              <a:gd name="T94" fmla="*/ 454 w 502"/>
              <a:gd name="T95" fmla="*/ 103 h 502"/>
              <a:gd name="T96" fmla="*/ 456 w 502"/>
              <a:gd name="T97" fmla="*/ 110 h 502"/>
              <a:gd name="T98" fmla="*/ 454 w 502"/>
              <a:gd name="T99" fmla="*/ 117 h 502"/>
              <a:gd name="T100" fmla="*/ 419 w 502"/>
              <a:gd name="T101" fmla="*/ 162 h 502"/>
              <a:gd name="T102" fmla="*/ 433 w 502"/>
              <a:gd name="T103" fmla="*/ 194 h 502"/>
              <a:gd name="T104" fmla="*/ 492 w 502"/>
              <a:gd name="T105" fmla="*/ 203 h 502"/>
              <a:gd name="T106" fmla="*/ 502 w 502"/>
              <a:gd name="T107" fmla="*/ 215 h 502"/>
              <a:gd name="T108" fmla="*/ 502 w 502"/>
              <a:gd name="T109" fmla="*/ 288 h 502"/>
              <a:gd name="T110" fmla="*/ 251 w 502"/>
              <a:gd name="T111" fmla="*/ 167 h 502"/>
              <a:gd name="T112" fmla="*/ 167 w 502"/>
              <a:gd name="T113" fmla="*/ 251 h 502"/>
              <a:gd name="T114" fmla="*/ 251 w 502"/>
              <a:gd name="T115" fmla="*/ 334 h 502"/>
              <a:gd name="T116" fmla="*/ 335 w 502"/>
              <a:gd name="T117" fmla="*/ 251 h 502"/>
              <a:gd name="T118" fmla="*/ 251 w 502"/>
              <a:gd name="T119" fmla="*/ 167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02" h="502">
                <a:moveTo>
                  <a:pt x="502" y="288"/>
                </a:moveTo>
                <a:cubicBezTo>
                  <a:pt x="502" y="293"/>
                  <a:pt x="498" y="298"/>
                  <a:pt x="493" y="299"/>
                </a:cubicBezTo>
                <a:cubicBezTo>
                  <a:pt x="432" y="309"/>
                  <a:pt x="432" y="309"/>
                  <a:pt x="432" y="309"/>
                </a:cubicBezTo>
                <a:cubicBezTo>
                  <a:pt x="429" y="319"/>
                  <a:pt x="425" y="329"/>
                  <a:pt x="420" y="338"/>
                </a:cubicBezTo>
                <a:cubicBezTo>
                  <a:pt x="431" y="354"/>
                  <a:pt x="442" y="369"/>
                  <a:pt x="455" y="383"/>
                </a:cubicBezTo>
                <a:cubicBezTo>
                  <a:pt x="456" y="386"/>
                  <a:pt x="458" y="389"/>
                  <a:pt x="458" y="392"/>
                </a:cubicBezTo>
                <a:cubicBezTo>
                  <a:pt x="458" y="395"/>
                  <a:pt x="457" y="397"/>
                  <a:pt x="455" y="399"/>
                </a:cubicBezTo>
                <a:cubicBezTo>
                  <a:pt x="447" y="410"/>
                  <a:pt x="403" y="458"/>
                  <a:pt x="392" y="458"/>
                </a:cubicBezTo>
                <a:cubicBezTo>
                  <a:pt x="389" y="458"/>
                  <a:pt x="386" y="456"/>
                  <a:pt x="383" y="455"/>
                </a:cubicBezTo>
                <a:cubicBezTo>
                  <a:pt x="338" y="419"/>
                  <a:pt x="338" y="419"/>
                  <a:pt x="338" y="419"/>
                </a:cubicBezTo>
                <a:cubicBezTo>
                  <a:pt x="329" y="424"/>
                  <a:pt x="319" y="429"/>
                  <a:pt x="308" y="432"/>
                </a:cubicBezTo>
                <a:cubicBezTo>
                  <a:pt x="306" y="452"/>
                  <a:pt x="304" y="473"/>
                  <a:pt x="299" y="493"/>
                </a:cubicBezTo>
                <a:cubicBezTo>
                  <a:pt x="298" y="498"/>
                  <a:pt x="293" y="502"/>
                  <a:pt x="287" y="502"/>
                </a:cubicBezTo>
                <a:cubicBezTo>
                  <a:pt x="215" y="502"/>
                  <a:pt x="215" y="502"/>
                  <a:pt x="215" y="502"/>
                </a:cubicBezTo>
                <a:cubicBezTo>
                  <a:pt x="209" y="502"/>
                  <a:pt x="204" y="497"/>
                  <a:pt x="203" y="492"/>
                </a:cubicBezTo>
                <a:cubicBezTo>
                  <a:pt x="194" y="432"/>
                  <a:pt x="194" y="432"/>
                  <a:pt x="194" y="432"/>
                </a:cubicBezTo>
                <a:cubicBezTo>
                  <a:pt x="184" y="429"/>
                  <a:pt x="174" y="425"/>
                  <a:pt x="164" y="420"/>
                </a:cubicBezTo>
                <a:cubicBezTo>
                  <a:pt x="118" y="455"/>
                  <a:pt x="118" y="455"/>
                  <a:pt x="118" y="455"/>
                </a:cubicBezTo>
                <a:cubicBezTo>
                  <a:pt x="116" y="457"/>
                  <a:pt x="113" y="458"/>
                  <a:pt x="110" y="458"/>
                </a:cubicBezTo>
                <a:cubicBezTo>
                  <a:pt x="107" y="458"/>
                  <a:pt x="104" y="456"/>
                  <a:pt x="102" y="454"/>
                </a:cubicBezTo>
                <a:cubicBezTo>
                  <a:pt x="85" y="438"/>
                  <a:pt x="62" y="418"/>
                  <a:pt x="48" y="399"/>
                </a:cubicBezTo>
                <a:cubicBezTo>
                  <a:pt x="46" y="397"/>
                  <a:pt x="46" y="394"/>
                  <a:pt x="46" y="392"/>
                </a:cubicBezTo>
                <a:cubicBezTo>
                  <a:pt x="46" y="389"/>
                  <a:pt x="47" y="386"/>
                  <a:pt x="48" y="384"/>
                </a:cubicBezTo>
                <a:cubicBezTo>
                  <a:pt x="59" y="369"/>
                  <a:pt x="72" y="355"/>
                  <a:pt x="83" y="339"/>
                </a:cubicBezTo>
                <a:cubicBezTo>
                  <a:pt x="77" y="329"/>
                  <a:pt x="73" y="318"/>
                  <a:pt x="69" y="307"/>
                </a:cubicBezTo>
                <a:cubicBezTo>
                  <a:pt x="10" y="298"/>
                  <a:pt x="10" y="298"/>
                  <a:pt x="10" y="298"/>
                </a:cubicBezTo>
                <a:cubicBezTo>
                  <a:pt x="4" y="297"/>
                  <a:pt x="0" y="292"/>
                  <a:pt x="0" y="286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09"/>
                  <a:pt x="4" y="203"/>
                  <a:pt x="9" y="202"/>
                </a:cubicBezTo>
                <a:cubicBezTo>
                  <a:pt x="70" y="193"/>
                  <a:pt x="70" y="193"/>
                  <a:pt x="70" y="193"/>
                </a:cubicBezTo>
                <a:cubicBezTo>
                  <a:pt x="73" y="182"/>
                  <a:pt x="77" y="173"/>
                  <a:pt x="82" y="163"/>
                </a:cubicBezTo>
                <a:cubicBezTo>
                  <a:pt x="71" y="147"/>
                  <a:pt x="59" y="132"/>
                  <a:pt x="47" y="118"/>
                </a:cubicBezTo>
                <a:cubicBezTo>
                  <a:pt x="45" y="115"/>
                  <a:pt x="44" y="113"/>
                  <a:pt x="44" y="110"/>
                </a:cubicBezTo>
                <a:cubicBezTo>
                  <a:pt x="44" y="107"/>
                  <a:pt x="45" y="105"/>
                  <a:pt x="47" y="102"/>
                </a:cubicBezTo>
                <a:cubicBezTo>
                  <a:pt x="55" y="92"/>
                  <a:pt x="99" y="44"/>
                  <a:pt x="110" y="44"/>
                </a:cubicBezTo>
                <a:cubicBezTo>
                  <a:pt x="113" y="44"/>
                  <a:pt x="116" y="45"/>
                  <a:pt x="119" y="47"/>
                </a:cubicBezTo>
                <a:cubicBezTo>
                  <a:pt x="164" y="82"/>
                  <a:pt x="164" y="82"/>
                  <a:pt x="164" y="82"/>
                </a:cubicBezTo>
                <a:cubicBezTo>
                  <a:pt x="173" y="77"/>
                  <a:pt x="183" y="73"/>
                  <a:pt x="193" y="70"/>
                </a:cubicBezTo>
                <a:cubicBezTo>
                  <a:pt x="196" y="50"/>
                  <a:pt x="198" y="29"/>
                  <a:pt x="203" y="9"/>
                </a:cubicBezTo>
                <a:cubicBezTo>
                  <a:pt x="204" y="4"/>
                  <a:pt x="209" y="0"/>
                  <a:pt x="215" y="0"/>
                </a:cubicBezTo>
                <a:cubicBezTo>
                  <a:pt x="287" y="0"/>
                  <a:pt x="287" y="0"/>
                  <a:pt x="287" y="0"/>
                </a:cubicBezTo>
                <a:cubicBezTo>
                  <a:pt x="293" y="0"/>
                  <a:pt x="298" y="4"/>
                  <a:pt x="299" y="10"/>
                </a:cubicBezTo>
                <a:cubicBezTo>
                  <a:pt x="308" y="70"/>
                  <a:pt x="308" y="70"/>
                  <a:pt x="308" y="70"/>
                </a:cubicBezTo>
                <a:cubicBezTo>
                  <a:pt x="318" y="73"/>
                  <a:pt x="328" y="77"/>
                  <a:pt x="338" y="82"/>
                </a:cubicBezTo>
                <a:cubicBezTo>
                  <a:pt x="384" y="47"/>
                  <a:pt x="384" y="47"/>
                  <a:pt x="384" y="47"/>
                </a:cubicBezTo>
                <a:cubicBezTo>
                  <a:pt x="386" y="45"/>
                  <a:pt x="389" y="44"/>
                  <a:pt x="392" y="44"/>
                </a:cubicBezTo>
                <a:cubicBezTo>
                  <a:pt x="395" y="44"/>
                  <a:pt x="398" y="45"/>
                  <a:pt x="400" y="47"/>
                </a:cubicBezTo>
                <a:cubicBezTo>
                  <a:pt x="417" y="63"/>
                  <a:pt x="440" y="83"/>
                  <a:pt x="454" y="103"/>
                </a:cubicBezTo>
                <a:cubicBezTo>
                  <a:pt x="456" y="105"/>
                  <a:pt x="456" y="107"/>
                  <a:pt x="456" y="110"/>
                </a:cubicBezTo>
                <a:cubicBezTo>
                  <a:pt x="456" y="113"/>
                  <a:pt x="455" y="115"/>
                  <a:pt x="454" y="117"/>
                </a:cubicBezTo>
                <a:cubicBezTo>
                  <a:pt x="442" y="132"/>
                  <a:pt x="430" y="147"/>
                  <a:pt x="419" y="162"/>
                </a:cubicBezTo>
                <a:cubicBezTo>
                  <a:pt x="425" y="173"/>
                  <a:pt x="429" y="183"/>
                  <a:pt x="433" y="194"/>
                </a:cubicBezTo>
                <a:cubicBezTo>
                  <a:pt x="492" y="203"/>
                  <a:pt x="492" y="203"/>
                  <a:pt x="492" y="203"/>
                </a:cubicBezTo>
                <a:cubicBezTo>
                  <a:pt x="498" y="204"/>
                  <a:pt x="502" y="210"/>
                  <a:pt x="502" y="215"/>
                </a:cubicBezTo>
                <a:lnTo>
                  <a:pt x="502" y="288"/>
                </a:lnTo>
                <a:close/>
                <a:moveTo>
                  <a:pt x="251" y="167"/>
                </a:moveTo>
                <a:cubicBezTo>
                  <a:pt x="205" y="167"/>
                  <a:pt x="167" y="205"/>
                  <a:pt x="167" y="251"/>
                </a:cubicBezTo>
                <a:cubicBezTo>
                  <a:pt x="167" y="297"/>
                  <a:pt x="205" y="334"/>
                  <a:pt x="251" y="334"/>
                </a:cubicBezTo>
                <a:cubicBezTo>
                  <a:pt x="297" y="334"/>
                  <a:pt x="335" y="297"/>
                  <a:pt x="335" y="251"/>
                </a:cubicBezTo>
                <a:cubicBezTo>
                  <a:pt x="335" y="205"/>
                  <a:pt x="297" y="167"/>
                  <a:pt x="251" y="1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Rechteck 28">
            <a:extLst>
              <a:ext uri="{FF2B5EF4-FFF2-40B4-BE49-F238E27FC236}">
                <a16:creationId xmlns:a16="http://schemas.microsoft.com/office/drawing/2014/main" id="{CC1827CB-5152-48A4-9CB2-275116FCB7E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9273862" y="3054787"/>
            <a:ext cx="2341875" cy="461665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90000" numCol="1" spcCol="72000" rtlCol="0" anchor="b" anchorCtr="0">
            <a:noAutofit/>
          </a:bodyPr>
          <a:lstStyle/>
          <a:p>
            <a:pPr>
              <a:spcBef>
                <a:spcPts val="600"/>
              </a:spcBef>
              <a:tabLst>
                <a:tab pos="1255085" algn="r"/>
              </a:tabLst>
              <a:defRPr/>
            </a:pPr>
            <a:r>
              <a:rPr lang="en-US" altLang="de-DE" b="1" dirty="0">
                <a:solidFill>
                  <a:srgbClr val="000000"/>
                </a:solidFill>
                <a:ea typeface="Arial Unicode MS"/>
              </a:rPr>
              <a:t>Develop and Improve</a:t>
            </a:r>
          </a:p>
        </p:txBody>
      </p:sp>
      <p:sp>
        <p:nvSpPr>
          <p:cNvPr id="10" name="Rechteck 28">
            <a:extLst>
              <a:ext uri="{FF2B5EF4-FFF2-40B4-BE49-F238E27FC236}">
                <a16:creationId xmlns:a16="http://schemas.microsoft.com/office/drawing/2014/main" id="{0D3204B4-1AB0-4117-94EA-A0386A9E5009}"/>
              </a:ext>
            </a:extLst>
          </p:cNvPr>
          <p:cNvSpPr/>
          <p:nvPr/>
        </p:nvSpPr>
        <p:spPr bwMode="gray">
          <a:xfrm>
            <a:off x="9273863" y="3516452"/>
            <a:ext cx="1910816" cy="1231106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marL="203200" lvl="1" indent="-203200">
              <a:spcBef>
                <a:spcPts val="600"/>
              </a:spcBef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1255085" algn="r"/>
              </a:tabLst>
              <a:defRPr/>
            </a:pPr>
            <a:r>
              <a:rPr lang="en-US" altLang="de-DE" sz="1600" dirty="0">
                <a:solidFill>
                  <a:srgbClr val="000000"/>
                </a:solidFill>
                <a:ea typeface="Arial Unicode MS"/>
                <a:cs typeface="Arial" pitchFamily="34" charset="0"/>
              </a:rPr>
              <a:t>Further develop the model by integrating data such as weather and vegetation</a:t>
            </a:r>
          </a:p>
        </p:txBody>
      </p:sp>
      <p:sp>
        <p:nvSpPr>
          <p:cNvPr id="17" name="Ellipse 2">
            <a:extLst>
              <a:ext uri="{FF2B5EF4-FFF2-40B4-BE49-F238E27FC236}">
                <a16:creationId xmlns:a16="http://schemas.microsoft.com/office/drawing/2014/main" id="{555F1569-725C-42F5-949D-36C859C92A47}"/>
              </a:ext>
            </a:extLst>
          </p:cNvPr>
          <p:cNvSpPr/>
          <p:nvPr/>
        </p:nvSpPr>
        <p:spPr bwMode="auto">
          <a:xfrm>
            <a:off x="7870700" y="1680882"/>
            <a:ext cx="799340" cy="799340"/>
          </a:xfrm>
          <a:prstGeom prst="ellipse">
            <a:avLst/>
          </a:prstGeom>
          <a:solidFill>
            <a:schemeClr val="tx2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799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9" name="Ellipse 3">
            <a:extLst>
              <a:ext uri="{FF2B5EF4-FFF2-40B4-BE49-F238E27FC236}">
                <a16:creationId xmlns:a16="http://schemas.microsoft.com/office/drawing/2014/main" id="{AECD3534-A372-4CE9-990D-294202714A81}"/>
              </a:ext>
            </a:extLst>
          </p:cNvPr>
          <p:cNvSpPr/>
          <p:nvPr/>
        </p:nvSpPr>
        <p:spPr bwMode="auto">
          <a:xfrm>
            <a:off x="8291426" y="3505299"/>
            <a:ext cx="799340" cy="79934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799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0" name="Ellipse 4">
            <a:extLst>
              <a:ext uri="{FF2B5EF4-FFF2-40B4-BE49-F238E27FC236}">
                <a16:creationId xmlns:a16="http://schemas.microsoft.com/office/drawing/2014/main" id="{37E7F580-2E47-465E-80EB-E5C39D2A75C2}"/>
              </a:ext>
            </a:extLst>
          </p:cNvPr>
          <p:cNvSpPr/>
          <p:nvPr/>
        </p:nvSpPr>
        <p:spPr bwMode="auto">
          <a:xfrm>
            <a:off x="7870700" y="5329717"/>
            <a:ext cx="799340" cy="79934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799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1" name="Arc 8">
            <a:extLst>
              <a:ext uri="{FF2B5EF4-FFF2-40B4-BE49-F238E27FC236}">
                <a16:creationId xmlns:a16="http://schemas.microsoft.com/office/drawing/2014/main" id="{33D23594-52A5-4E3C-881C-5F6CF8646DF2}"/>
              </a:ext>
            </a:extLst>
          </p:cNvPr>
          <p:cNvSpPr/>
          <p:nvPr/>
        </p:nvSpPr>
        <p:spPr>
          <a:xfrm rot="780000">
            <a:off x="8256917" y="3947968"/>
            <a:ext cx="326606" cy="1738420"/>
          </a:xfrm>
          <a:prstGeom prst="arc">
            <a:avLst>
              <a:gd name="adj1" fmla="val 17155180"/>
              <a:gd name="adj2" fmla="val 4357666"/>
            </a:avLst>
          </a:prstGeom>
          <a:ln w="38100" cap="rnd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rc 18">
            <a:extLst>
              <a:ext uri="{FF2B5EF4-FFF2-40B4-BE49-F238E27FC236}">
                <a16:creationId xmlns:a16="http://schemas.microsoft.com/office/drawing/2014/main" id="{955F3BD0-09D6-45E6-BDD0-C10562EB590A}"/>
              </a:ext>
            </a:extLst>
          </p:cNvPr>
          <p:cNvSpPr/>
          <p:nvPr/>
        </p:nvSpPr>
        <p:spPr>
          <a:xfrm rot="20880000">
            <a:off x="8271111" y="2139789"/>
            <a:ext cx="326606" cy="1738420"/>
          </a:xfrm>
          <a:prstGeom prst="arc">
            <a:avLst>
              <a:gd name="adj1" fmla="val 17155180"/>
              <a:gd name="adj2" fmla="val 4357666"/>
            </a:avLst>
          </a:prstGeom>
          <a:ln w="38100" cap="rnd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A202164-C80A-435D-A377-10F084185A05}"/>
              </a:ext>
            </a:extLst>
          </p:cNvPr>
          <p:cNvGrpSpPr/>
          <p:nvPr/>
        </p:nvGrpSpPr>
        <p:grpSpPr>
          <a:xfrm>
            <a:off x="8872427" y="1484184"/>
            <a:ext cx="1910816" cy="1192737"/>
            <a:chOff x="8872427" y="1484184"/>
            <a:chExt cx="1910816" cy="1192737"/>
          </a:xfrm>
        </p:grpSpPr>
        <p:sp>
          <p:nvSpPr>
            <p:cNvPr id="23" name="Rechteck 28">
              <a:extLst>
                <a:ext uri="{FF2B5EF4-FFF2-40B4-BE49-F238E27FC236}">
                  <a16:creationId xmlns:a16="http://schemas.microsoft.com/office/drawing/2014/main" id="{4F78138C-6336-4571-B037-590512F13EE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8872427" y="1484184"/>
              <a:ext cx="1910816" cy="454073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0" tIns="0" rIns="0" bIns="90000" numCol="1" spcCol="72000" rtlCol="0" anchor="b" anchorCtr="0">
              <a:noAutofit/>
            </a:bodyPr>
            <a:lstStyle/>
            <a:p>
              <a:pPr>
                <a:spcBef>
                  <a:spcPts val="600"/>
                </a:spcBef>
                <a:tabLst>
                  <a:tab pos="1255085" algn="r"/>
                </a:tabLst>
                <a:defRPr/>
              </a:pPr>
              <a:r>
                <a:rPr lang="en-US" altLang="de-DE" b="1" dirty="0">
                  <a:solidFill>
                    <a:srgbClr val="000000"/>
                  </a:solidFill>
                  <a:ea typeface="Arial Unicode MS"/>
                </a:rPr>
                <a:t>Replicate</a:t>
              </a:r>
            </a:p>
          </p:txBody>
        </p:sp>
        <p:sp>
          <p:nvSpPr>
            <p:cNvPr id="24" name="Rechteck 28">
              <a:extLst>
                <a:ext uri="{FF2B5EF4-FFF2-40B4-BE49-F238E27FC236}">
                  <a16:creationId xmlns:a16="http://schemas.microsoft.com/office/drawing/2014/main" id="{FDDFBFC5-5C1D-47B8-9CEB-0A45D2322DD5}"/>
                </a:ext>
              </a:extLst>
            </p:cNvPr>
            <p:cNvSpPr/>
            <p:nvPr/>
          </p:nvSpPr>
          <p:spPr bwMode="gray">
            <a:xfrm>
              <a:off x="8872427" y="1938257"/>
              <a:ext cx="1910816" cy="738664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0" tIns="0" rIns="0" bIns="0" numCol="1" spcCol="72000" rtlCol="0" anchor="t" anchorCtr="0">
              <a:spAutoFit/>
            </a:bodyPr>
            <a:lstStyle/>
            <a:p>
              <a:pPr marL="203200" lvl="1" indent="-203200">
                <a:spcBef>
                  <a:spcPts val="600"/>
                </a:spcBef>
                <a:buClr>
                  <a:schemeClr val="accent1">
                    <a:lumMod val="100000"/>
                  </a:schemeClr>
                </a:buClr>
                <a:buSzPct val="100000"/>
                <a:buFont typeface="Wingdings" panose="05000000000000000000" pitchFamily="2" charset="2"/>
                <a:buChar char="§"/>
                <a:tabLst>
                  <a:tab pos="1255085" algn="r"/>
                </a:tabLst>
                <a:defRPr/>
              </a:pPr>
              <a:r>
                <a:rPr lang="en-US" altLang="de-DE" sz="1600" dirty="0">
                  <a:solidFill>
                    <a:srgbClr val="000000"/>
                  </a:solidFill>
                  <a:ea typeface="Arial Unicode MS"/>
                  <a:cs typeface="Arial" pitchFamily="34" charset="0"/>
                </a:rPr>
                <a:t>Using comparable data, our model can be replicated</a:t>
              </a: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2BFC84B1-CD21-4535-ADB9-91840D5764C3}"/>
              </a:ext>
            </a:extLst>
          </p:cNvPr>
          <p:cNvGrpSpPr/>
          <p:nvPr/>
        </p:nvGrpSpPr>
        <p:grpSpPr>
          <a:xfrm>
            <a:off x="8872427" y="5177491"/>
            <a:ext cx="2200734" cy="1103790"/>
            <a:chOff x="8872427" y="5177492"/>
            <a:chExt cx="2200734" cy="1103790"/>
          </a:xfrm>
        </p:grpSpPr>
        <p:sp>
          <p:nvSpPr>
            <p:cNvPr id="25" name="Rechteck 28">
              <a:extLst>
                <a:ext uri="{FF2B5EF4-FFF2-40B4-BE49-F238E27FC236}">
                  <a16:creationId xmlns:a16="http://schemas.microsoft.com/office/drawing/2014/main" id="{7B3BD6B5-06DF-4544-8307-ADB0EFB069BB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8872427" y="5177492"/>
              <a:ext cx="2200734" cy="365126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0" tIns="0" rIns="0" bIns="90000" numCol="1" spcCol="72000" rtlCol="0" anchor="b" anchorCtr="0">
              <a:noAutofit/>
            </a:bodyPr>
            <a:lstStyle/>
            <a:p>
              <a:pPr>
                <a:spcBef>
                  <a:spcPts val="600"/>
                </a:spcBef>
                <a:tabLst>
                  <a:tab pos="1255085" algn="r"/>
                </a:tabLst>
                <a:defRPr/>
              </a:pPr>
              <a:r>
                <a:rPr lang="en-US" altLang="de-DE" b="1" dirty="0">
                  <a:solidFill>
                    <a:srgbClr val="000000"/>
                  </a:solidFill>
                  <a:ea typeface="Arial Unicode MS"/>
                </a:rPr>
                <a:t>Apply and adapt </a:t>
              </a:r>
            </a:p>
          </p:txBody>
        </p:sp>
        <p:sp>
          <p:nvSpPr>
            <p:cNvPr id="26" name="Rechteck 28">
              <a:extLst>
                <a:ext uri="{FF2B5EF4-FFF2-40B4-BE49-F238E27FC236}">
                  <a16:creationId xmlns:a16="http://schemas.microsoft.com/office/drawing/2014/main" id="{41849F2F-AFC7-43EA-A3DF-A2D616A17DA7}"/>
                </a:ext>
              </a:extLst>
            </p:cNvPr>
            <p:cNvSpPr/>
            <p:nvPr/>
          </p:nvSpPr>
          <p:spPr bwMode="gray">
            <a:xfrm>
              <a:off x="8901405" y="5542618"/>
              <a:ext cx="1993335" cy="738664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0" tIns="0" rIns="0" bIns="0" numCol="1" spcCol="72000" rtlCol="0" anchor="t" anchorCtr="0">
              <a:spAutoFit/>
            </a:bodyPr>
            <a:lstStyle/>
            <a:p>
              <a:pPr marL="203200" lvl="1" indent="-203200">
                <a:spcBef>
                  <a:spcPts val="600"/>
                </a:spcBef>
                <a:buClr>
                  <a:schemeClr val="accent1">
                    <a:lumMod val="100000"/>
                  </a:schemeClr>
                </a:buClr>
                <a:buSzPct val="100000"/>
                <a:buFont typeface="Wingdings" panose="05000000000000000000" pitchFamily="2" charset="2"/>
                <a:buChar char="§"/>
                <a:tabLst>
                  <a:tab pos="1255085" algn="r"/>
                </a:tabLst>
                <a:defRPr/>
              </a:pPr>
              <a:r>
                <a:rPr lang="en-US" altLang="de-DE" sz="1600" dirty="0">
                  <a:solidFill>
                    <a:srgbClr val="000000"/>
                  </a:solidFill>
                  <a:ea typeface="Arial Unicode MS"/>
                  <a:cs typeface="Arial" pitchFamily="34" charset="0"/>
                </a:rPr>
                <a:t>Application of solution on other areas</a:t>
              </a:r>
            </a:p>
          </p:txBody>
        </p:sp>
      </p:grpSp>
      <p:pic>
        <p:nvPicPr>
          <p:cNvPr id="39" name="Grafik 38">
            <a:extLst>
              <a:ext uri="{FF2B5EF4-FFF2-40B4-BE49-F238E27FC236}">
                <a16:creationId xmlns:a16="http://schemas.microsoft.com/office/drawing/2014/main" id="{675C5AD5-BE79-4F75-A581-179425616EF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16864" y="4007267"/>
            <a:ext cx="634796" cy="634796"/>
          </a:xfrm>
          <a:prstGeom prst="rect">
            <a:avLst/>
          </a:prstGeom>
        </p:spPr>
      </p:pic>
      <p:sp>
        <p:nvSpPr>
          <p:cNvPr id="47" name="Title 2">
            <a:extLst>
              <a:ext uri="{FF2B5EF4-FFF2-40B4-BE49-F238E27FC236}">
                <a16:creationId xmlns:a16="http://schemas.microsoft.com/office/drawing/2014/main" id="{C6E33F11-C21B-4959-A0F6-D9519034952C}"/>
              </a:ext>
            </a:extLst>
          </p:cNvPr>
          <p:cNvSpPr txBox="1">
            <a:spLocks/>
          </p:cNvSpPr>
          <p:nvPr/>
        </p:nvSpPr>
        <p:spPr>
          <a:xfrm>
            <a:off x="521917" y="401132"/>
            <a:ext cx="11145781" cy="461665"/>
          </a:xfrm>
          <a:prstGeom prst="rect">
            <a:avLst/>
          </a:prstGeom>
        </p:spPr>
        <p:txBody>
          <a:bodyPr vert="horz" lIns="2448000"/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rgbClr val="3F3F3F"/>
                </a:solidFill>
                <a:latin typeface="Arial"/>
                <a:ea typeface="+mj-ea"/>
                <a:cs typeface="Arial"/>
              </a:defRPr>
            </a:lvl1pPr>
          </a:lstStyle>
          <a:p>
            <a:pPr algn="r"/>
            <a:r>
              <a:rPr lang="en-US" sz="2400" b="1" dirty="0">
                <a:solidFill>
                  <a:srgbClr val="000000"/>
                </a:solidFill>
                <a:latin typeface="Raleway" pitchFamily="2" charset="0"/>
              </a:rPr>
              <a:t>Our solution is not only applicable to Hongkong but in various other areas and different use cases </a:t>
            </a:r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DD1D0997-DE1D-4C97-A986-CEF55F513F6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75208" y="2284386"/>
            <a:ext cx="814252" cy="814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8402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C0FFBE0-9B8F-4C70-BDCE-F4571F1531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C0FFBE0-9B8F-4C70-BDCE-F4571F153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D60D1EDE-7116-2443-9BDD-368CE5B37660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747184" y="-8741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7" name="Freeform 156"/>
          <p:cNvSpPr/>
          <p:nvPr/>
        </p:nvSpPr>
        <p:spPr>
          <a:xfrm>
            <a:off x="6490011" y="0"/>
            <a:ext cx="5701988" cy="6865464"/>
          </a:xfrm>
          <a:custGeom>
            <a:avLst/>
            <a:gdLst>
              <a:gd name="connsiteX0" fmla="*/ 2483124 w 5460510"/>
              <a:gd name="connsiteY0" fmla="*/ 0 h 5143500"/>
              <a:gd name="connsiteX1" fmla="*/ 3771407 w 5460510"/>
              <a:gd name="connsiteY1" fmla="*/ 0 h 5143500"/>
              <a:gd name="connsiteX2" fmla="*/ 4717679 w 5460510"/>
              <a:gd name="connsiteY2" fmla="*/ 0 h 5143500"/>
              <a:gd name="connsiteX3" fmla="*/ 5460510 w 5460510"/>
              <a:gd name="connsiteY3" fmla="*/ 0 h 5143500"/>
              <a:gd name="connsiteX4" fmla="*/ 5460510 w 5460510"/>
              <a:gd name="connsiteY4" fmla="*/ 5143500 h 5143500"/>
              <a:gd name="connsiteX5" fmla="*/ 4717679 w 5460510"/>
              <a:gd name="connsiteY5" fmla="*/ 5143500 h 5143500"/>
              <a:gd name="connsiteX6" fmla="*/ 3771407 w 5460510"/>
              <a:gd name="connsiteY6" fmla="*/ 5143500 h 5143500"/>
              <a:gd name="connsiteX7" fmla="*/ 0 w 546051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60510" h="5143500">
                <a:moveTo>
                  <a:pt x="2483124" y="0"/>
                </a:moveTo>
                <a:lnTo>
                  <a:pt x="3771407" y="0"/>
                </a:lnTo>
                <a:lnTo>
                  <a:pt x="4717679" y="0"/>
                </a:lnTo>
                <a:lnTo>
                  <a:pt x="5460510" y="0"/>
                </a:lnTo>
                <a:lnTo>
                  <a:pt x="5460510" y="5143500"/>
                </a:lnTo>
                <a:lnTo>
                  <a:pt x="4717679" y="5143500"/>
                </a:lnTo>
                <a:lnTo>
                  <a:pt x="3771407" y="5143500"/>
                </a:lnTo>
                <a:lnTo>
                  <a:pt x="0" y="5143500"/>
                </a:lnTo>
                <a:close/>
              </a:path>
            </a:pathLst>
          </a:custGeom>
          <a:blipFill dpi="0" rotWithShape="1">
            <a:blip r:embed="rId7"/>
            <a:srcRect/>
            <a:stretch>
              <a:fillRect l="-16000" r="-20000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5" name="Title 2">
            <a:extLst>
              <a:ext uri="{FF2B5EF4-FFF2-40B4-BE49-F238E27FC236}">
                <a16:creationId xmlns:a16="http://schemas.microsoft.com/office/drawing/2014/main" id="{EB4D55FD-C0E1-49CF-A4AF-4D7F5AE164E2}"/>
              </a:ext>
            </a:extLst>
          </p:cNvPr>
          <p:cNvSpPr txBox="1">
            <a:spLocks/>
          </p:cNvSpPr>
          <p:nvPr/>
        </p:nvSpPr>
        <p:spPr>
          <a:xfrm>
            <a:off x="521917" y="401132"/>
            <a:ext cx="11145781" cy="461665"/>
          </a:xfrm>
          <a:prstGeom prst="rect">
            <a:avLst/>
          </a:prstGeom>
        </p:spPr>
        <p:txBody>
          <a:bodyPr vert="horz" rIns="2880000"/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rgbClr val="3F3F3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400" b="1" dirty="0">
                <a:solidFill>
                  <a:srgbClr val="000000"/>
                </a:solidFill>
                <a:latin typeface="Raleway" pitchFamily="2" charset="0"/>
              </a:rPr>
              <a:t>Future potential: Modern technologies can improve data collection and our model’s performance</a:t>
            </a:r>
          </a:p>
        </p:txBody>
      </p:sp>
      <p:sp>
        <p:nvSpPr>
          <p:cNvPr id="57" name="Pfeil: Fünfeck 56">
            <a:extLst>
              <a:ext uri="{FF2B5EF4-FFF2-40B4-BE49-F238E27FC236}">
                <a16:creationId xmlns:a16="http://schemas.microsoft.com/office/drawing/2014/main" id="{F59A0691-152A-4372-B143-62032B0037EF}"/>
              </a:ext>
            </a:extLst>
          </p:cNvPr>
          <p:cNvSpPr/>
          <p:nvPr/>
        </p:nvSpPr>
        <p:spPr>
          <a:xfrm>
            <a:off x="1289277" y="4431222"/>
            <a:ext cx="5701988" cy="769623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GB" sz="1600" b="1" dirty="0">
                <a:solidFill>
                  <a:srgbClr val="000000"/>
                </a:solidFill>
              </a:rPr>
              <a:t>Robotic technology for drilling </a:t>
            </a:r>
            <a:r>
              <a:rPr lang="en-GB" sz="1600" dirty="0">
                <a:solidFill>
                  <a:srgbClr val="000000"/>
                </a:solidFill>
              </a:rPr>
              <a:t>to conduct geological measurements</a:t>
            </a: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58" name="Flussdiagramm: Verbinder 57">
            <a:extLst>
              <a:ext uri="{FF2B5EF4-FFF2-40B4-BE49-F238E27FC236}">
                <a16:creationId xmlns:a16="http://schemas.microsoft.com/office/drawing/2014/main" id="{9CAB5E09-8FB8-443D-843A-505419C8B859}"/>
              </a:ext>
            </a:extLst>
          </p:cNvPr>
          <p:cNvSpPr/>
          <p:nvPr/>
        </p:nvSpPr>
        <p:spPr>
          <a:xfrm>
            <a:off x="498593" y="4341996"/>
            <a:ext cx="1044000" cy="948074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Flussdiagramm: Verbinder 58">
            <a:extLst>
              <a:ext uri="{FF2B5EF4-FFF2-40B4-BE49-F238E27FC236}">
                <a16:creationId xmlns:a16="http://schemas.microsoft.com/office/drawing/2014/main" id="{FFBB132A-F05B-443F-859C-9984DEDEFF00}"/>
              </a:ext>
            </a:extLst>
          </p:cNvPr>
          <p:cNvSpPr/>
          <p:nvPr/>
        </p:nvSpPr>
        <p:spPr>
          <a:xfrm>
            <a:off x="624593" y="4420033"/>
            <a:ext cx="792000" cy="792000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Pfeil: Fünfeck 60">
            <a:extLst>
              <a:ext uri="{FF2B5EF4-FFF2-40B4-BE49-F238E27FC236}">
                <a16:creationId xmlns:a16="http://schemas.microsoft.com/office/drawing/2014/main" id="{590EE258-A286-4CD7-94D8-5F312262983A}"/>
              </a:ext>
            </a:extLst>
          </p:cNvPr>
          <p:cNvSpPr/>
          <p:nvPr/>
        </p:nvSpPr>
        <p:spPr>
          <a:xfrm>
            <a:off x="1289278" y="5383783"/>
            <a:ext cx="5334546" cy="769623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US" sz="1600" b="1" dirty="0">
                <a:solidFill>
                  <a:srgbClr val="000000"/>
                </a:solidFill>
              </a:rPr>
              <a:t>Connecting local prediction models internationally </a:t>
            </a:r>
            <a:r>
              <a:rPr lang="en-US" sz="1600" dirty="0">
                <a:solidFill>
                  <a:srgbClr val="000000"/>
                </a:solidFill>
              </a:rPr>
              <a:t>to optimize knowledge sharing</a:t>
            </a:r>
          </a:p>
        </p:txBody>
      </p:sp>
      <p:sp>
        <p:nvSpPr>
          <p:cNvPr id="62" name="Flussdiagramm: Verbinder 61">
            <a:extLst>
              <a:ext uri="{FF2B5EF4-FFF2-40B4-BE49-F238E27FC236}">
                <a16:creationId xmlns:a16="http://schemas.microsoft.com/office/drawing/2014/main" id="{E3B89C70-F2A6-4CBE-A349-1144280BC481}"/>
              </a:ext>
            </a:extLst>
          </p:cNvPr>
          <p:cNvSpPr/>
          <p:nvPr/>
        </p:nvSpPr>
        <p:spPr>
          <a:xfrm>
            <a:off x="498593" y="5294557"/>
            <a:ext cx="1044000" cy="948074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Flussdiagramm: Verbinder 62">
            <a:extLst>
              <a:ext uri="{FF2B5EF4-FFF2-40B4-BE49-F238E27FC236}">
                <a16:creationId xmlns:a16="http://schemas.microsoft.com/office/drawing/2014/main" id="{A3F7B588-97C8-4596-8966-650BF5B71306}"/>
              </a:ext>
            </a:extLst>
          </p:cNvPr>
          <p:cNvSpPr/>
          <p:nvPr/>
        </p:nvSpPr>
        <p:spPr>
          <a:xfrm>
            <a:off x="624593" y="5372594"/>
            <a:ext cx="792000" cy="792000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: Fünfeck 64">
            <a:extLst>
              <a:ext uri="{FF2B5EF4-FFF2-40B4-BE49-F238E27FC236}">
                <a16:creationId xmlns:a16="http://schemas.microsoft.com/office/drawing/2014/main" id="{6932E3ED-502E-4B36-91F5-1F843E9215BD}"/>
              </a:ext>
            </a:extLst>
          </p:cNvPr>
          <p:cNvSpPr/>
          <p:nvPr/>
        </p:nvSpPr>
        <p:spPr>
          <a:xfrm>
            <a:off x="1287724" y="1573539"/>
            <a:ext cx="6770870" cy="769623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GB" sz="1600" b="1" dirty="0">
                <a:solidFill>
                  <a:srgbClr val="000000"/>
                </a:solidFill>
              </a:rPr>
              <a:t>Modern drone and satellite technology </a:t>
            </a:r>
            <a:r>
              <a:rPr lang="en-GB" sz="1600" dirty="0">
                <a:solidFill>
                  <a:srgbClr val="000000"/>
                </a:solidFill>
              </a:rPr>
              <a:t>for better topological data</a:t>
            </a:r>
          </a:p>
        </p:txBody>
      </p:sp>
      <p:sp>
        <p:nvSpPr>
          <p:cNvPr id="66" name="Flussdiagramm: Verbinder 65">
            <a:extLst>
              <a:ext uri="{FF2B5EF4-FFF2-40B4-BE49-F238E27FC236}">
                <a16:creationId xmlns:a16="http://schemas.microsoft.com/office/drawing/2014/main" id="{FA55EC4A-2473-478E-A6C4-24653F29694B}"/>
              </a:ext>
            </a:extLst>
          </p:cNvPr>
          <p:cNvSpPr/>
          <p:nvPr/>
        </p:nvSpPr>
        <p:spPr>
          <a:xfrm>
            <a:off x="498594" y="1484313"/>
            <a:ext cx="1041948" cy="948074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Flussdiagramm: Verbinder 66">
            <a:extLst>
              <a:ext uri="{FF2B5EF4-FFF2-40B4-BE49-F238E27FC236}">
                <a16:creationId xmlns:a16="http://schemas.microsoft.com/office/drawing/2014/main" id="{CAD68C15-9346-4883-B5E5-8EB866D316AF}"/>
              </a:ext>
            </a:extLst>
          </p:cNvPr>
          <p:cNvSpPr/>
          <p:nvPr/>
        </p:nvSpPr>
        <p:spPr>
          <a:xfrm>
            <a:off x="624346" y="1562350"/>
            <a:ext cx="790443" cy="792000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9" name="Pfeil: Fünfeck 68">
            <a:extLst>
              <a:ext uri="{FF2B5EF4-FFF2-40B4-BE49-F238E27FC236}">
                <a16:creationId xmlns:a16="http://schemas.microsoft.com/office/drawing/2014/main" id="{BD6AE174-F440-44B5-9107-A9A42A2CD755}"/>
              </a:ext>
            </a:extLst>
          </p:cNvPr>
          <p:cNvSpPr/>
          <p:nvPr/>
        </p:nvSpPr>
        <p:spPr>
          <a:xfrm>
            <a:off x="1289277" y="2526100"/>
            <a:ext cx="6438517" cy="769623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US" sz="1600" b="1" dirty="0">
                <a:solidFill>
                  <a:srgbClr val="000000"/>
                </a:solidFill>
              </a:rPr>
              <a:t>Collaboration with cross industries </a:t>
            </a:r>
            <a:r>
              <a:rPr lang="en-US" sz="1600" dirty="0">
                <a:solidFill>
                  <a:srgbClr val="000000"/>
                </a:solidFill>
              </a:rPr>
              <a:t>(e.g., agriculture/ construction) for sharing geological data</a:t>
            </a:r>
          </a:p>
        </p:txBody>
      </p:sp>
      <p:sp>
        <p:nvSpPr>
          <p:cNvPr id="70" name="Flussdiagramm: Verbinder 69">
            <a:extLst>
              <a:ext uri="{FF2B5EF4-FFF2-40B4-BE49-F238E27FC236}">
                <a16:creationId xmlns:a16="http://schemas.microsoft.com/office/drawing/2014/main" id="{36FA27D5-C5E2-42BE-9EEB-FCF06BF579EC}"/>
              </a:ext>
            </a:extLst>
          </p:cNvPr>
          <p:cNvSpPr/>
          <p:nvPr/>
        </p:nvSpPr>
        <p:spPr>
          <a:xfrm>
            <a:off x="498593" y="2436874"/>
            <a:ext cx="1044000" cy="948074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Flussdiagramm: Verbinder 70">
            <a:extLst>
              <a:ext uri="{FF2B5EF4-FFF2-40B4-BE49-F238E27FC236}">
                <a16:creationId xmlns:a16="http://schemas.microsoft.com/office/drawing/2014/main" id="{88655030-DA6F-4238-B508-18CE8CAE17C6}"/>
              </a:ext>
            </a:extLst>
          </p:cNvPr>
          <p:cNvSpPr/>
          <p:nvPr/>
        </p:nvSpPr>
        <p:spPr>
          <a:xfrm>
            <a:off x="624593" y="2514911"/>
            <a:ext cx="792000" cy="792000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Pfeil: Fünfeck 72">
            <a:extLst>
              <a:ext uri="{FF2B5EF4-FFF2-40B4-BE49-F238E27FC236}">
                <a16:creationId xmlns:a16="http://schemas.microsoft.com/office/drawing/2014/main" id="{719E1036-521B-4832-BB78-3B4BDB0343A4}"/>
              </a:ext>
            </a:extLst>
          </p:cNvPr>
          <p:cNvSpPr/>
          <p:nvPr/>
        </p:nvSpPr>
        <p:spPr>
          <a:xfrm>
            <a:off x="1289278" y="3478661"/>
            <a:ext cx="6081677" cy="769623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GB" sz="1600" b="1" dirty="0">
                <a:solidFill>
                  <a:srgbClr val="000000"/>
                </a:solidFill>
              </a:rPr>
              <a:t>AI algorithms to analyse community-taken pictures </a:t>
            </a:r>
            <a:r>
              <a:rPr lang="en-GB" sz="1600" dirty="0">
                <a:solidFill>
                  <a:srgbClr val="000000"/>
                </a:solidFill>
              </a:rPr>
              <a:t>for early signs of landslides</a:t>
            </a: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74" name="Flussdiagramm: Verbinder 73">
            <a:extLst>
              <a:ext uri="{FF2B5EF4-FFF2-40B4-BE49-F238E27FC236}">
                <a16:creationId xmlns:a16="http://schemas.microsoft.com/office/drawing/2014/main" id="{86033697-42C5-44A4-9737-21B4919DF8FE}"/>
              </a:ext>
            </a:extLst>
          </p:cNvPr>
          <p:cNvSpPr/>
          <p:nvPr/>
        </p:nvSpPr>
        <p:spPr>
          <a:xfrm>
            <a:off x="498593" y="3389435"/>
            <a:ext cx="1044000" cy="948074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Flussdiagramm: Verbinder 74">
            <a:extLst>
              <a:ext uri="{FF2B5EF4-FFF2-40B4-BE49-F238E27FC236}">
                <a16:creationId xmlns:a16="http://schemas.microsoft.com/office/drawing/2014/main" id="{ACFCE7A6-FB77-43CC-889E-41CA455EB270}"/>
              </a:ext>
            </a:extLst>
          </p:cNvPr>
          <p:cNvSpPr/>
          <p:nvPr/>
        </p:nvSpPr>
        <p:spPr>
          <a:xfrm>
            <a:off x="624593" y="3467472"/>
            <a:ext cx="792000" cy="792000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FDC0B8A-B891-41D9-8C0E-178775DF20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6564" y="1671102"/>
            <a:ext cx="686007" cy="68600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3B2615A-5C7B-40D5-92EA-A61FBFBD7A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5525" y="2605844"/>
            <a:ext cx="610135" cy="61013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63E51F5-F48A-4297-BFE4-54884080E01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5525" y="3558405"/>
            <a:ext cx="610135" cy="61013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4C051B1-E2EC-44C2-B365-7AF9DE7F3DB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6796" y="4507632"/>
            <a:ext cx="572197" cy="57219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274B7D3-93BF-4D32-9647-BDD6D89B7F9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5526" y="5463527"/>
            <a:ext cx="610135" cy="61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345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_2021">
  <a:themeElements>
    <a:clrScheme name="Student Impact">
      <a:dk1>
        <a:srgbClr val="36414C"/>
      </a:dk1>
      <a:lt1>
        <a:srgbClr val="FFFFFF"/>
      </a:lt1>
      <a:dk2>
        <a:srgbClr val="7F8A94"/>
      </a:dk2>
      <a:lt2>
        <a:srgbClr val="E6ECF0"/>
      </a:lt2>
      <a:accent1>
        <a:srgbClr val="AEE154"/>
      </a:accent1>
      <a:accent2>
        <a:srgbClr val="78B533"/>
      </a:accent2>
      <a:accent3>
        <a:srgbClr val="4F9C29"/>
      </a:accent3>
      <a:accent4>
        <a:srgbClr val="126B00"/>
      </a:accent4>
      <a:accent5>
        <a:srgbClr val="023D5D"/>
      </a:accent5>
      <a:accent6>
        <a:srgbClr val="BDC5CC"/>
      </a:accent6>
      <a:hlink>
        <a:srgbClr val="5BC0FA"/>
      </a:hlink>
      <a:folHlink>
        <a:srgbClr val="3578C7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dk1"/>
        </a:lnRef>
        <a:fillRef idx="0">
          <a:schemeClr val="dk1"/>
        </a:fillRef>
        <a:effectRef idx="1">
          <a:schemeClr val="dk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indent="0" algn="l">
          <a:buFont typeface="Arial" panose="020B0604020202020204" pitchFamily="34" charset="0"/>
          <a:buNone/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_2021" id="{0F71AE0D-10C7-453D-A407-CB7309D0214E}" vid="{61B0A9FD-BA72-470A-A23F-FF4ABE735835}"/>
    </a:ext>
  </a:extLst>
</a:theme>
</file>

<file path=ppt/theme/theme2.xml><?xml version="1.0" encoding="utf-8"?>
<a:theme xmlns:a="http://schemas.openxmlformats.org/drawingml/2006/main" name="Benutzerdefiniertes Design">
  <a:themeElements>
    <a:clrScheme name="Blaugrü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I_2021</Template>
  <TotalTime>0</TotalTime>
  <Words>332</Words>
  <Application>Microsoft Office PowerPoint</Application>
  <PresentationFormat>Breitbild</PresentationFormat>
  <Paragraphs>80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7" baseType="lpstr">
      <vt:lpstr>MS Gothic</vt:lpstr>
      <vt:lpstr>Arial</vt:lpstr>
      <vt:lpstr>Calibri</vt:lpstr>
      <vt:lpstr>Calibri Light</vt:lpstr>
      <vt:lpstr>Raleway</vt:lpstr>
      <vt:lpstr>Wingdings</vt:lpstr>
      <vt:lpstr>SI_2021</vt:lpstr>
      <vt:lpstr>Benutzerdefiniertes Design</vt:lpstr>
      <vt:lpstr>think-cell Folie</vt:lpstr>
      <vt:lpstr>PowerPoint-Präsentation</vt:lpstr>
      <vt:lpstr>3 different universities, 4 different fields of study – 1 joint mission!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eser, Benedikt</dc:creator>
  <cp:lastModifiedBy>Wieser, Benedikt</cp:lastModifiedBy>
  <cp:revision>4</cp:revision>
  <dcterms:created xsi:type="dcterms:W3CDTF">2022-03-23T22:55:17Z</dcterms:created>
  <dcterms:modified xsi:type="dcterms:W3CDTF">2022-03-25T07:31:38Z</dcterms:modified>
</cp:coreProperties>
</file>